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Default Extension="jpg" ContentType="image/jpeg"/>
  <Default Extension="crdownload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notesSlides/notesSlide3.xml" ContentType="application/vnd.openxmlformats-officedocument.presentationml.notesSlide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tags/tag43.xml" ContentType="application/vnd.openxmlformats-officedocument.presentationml.tags+xml"/>
  <Override PartName="/ppt/notesSlides/notesSlide7.xml" ContentType="application/vnd.openxmlformats-officedocument.presentationml.notesSlide+xml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ppt/tags/tag46.xml" ContentType="application/vnd.openxmlformats-officedocument.presentationml.tags+xml"/>
  <Override PartName="/ppt/notesSlides/notesSlide10.xml" ContentType="application/vnd.openxmlformats-officedocument.presentationml.notesSlide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notesSlides/notesSlide13.xml" ContentType="application/vnd.openxmlformats-officedocument.presentationml.notesSlide+xml"/>
  <Override PartName="/ppt/tags/tag50.xml" ContentType="application/vnd.openxmlformats-officedocument.presentationml.tags+xml"/>
  <Override PartName="/ppt/notesSlides/notesSlide14.xml" ContentType="application/vnd.openxmlformats-officedocument.presentationml.notesSlide+xml"/>
  <Override PartName="/ppt/tags/tag51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2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3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54.xml" ContentType="application/vnd.openxmlformats-officedocument.presentationml.tags+xml"/>
  <Override PartName="/ppt/notesSlides/notesSlide18.xml" ContentType="application/vnd.openxmlformats-officedocument.presentationml.notesSlide+xml"/>
  <Override PartName="/ppt/tags/tag55.xml" ContentType="application/vnd.openxmlformats-officedocument.presentationml.tags+xml"/>
  <Override PartName="/ppt/notesSlides/notesSlide19.xml" ContentType="application/vnd.openxmlformats-officedocument.presentationml.notesSlide+xml"/>
  <Override PartName="/ppt/tags/tag56.xml" ContentType="application/vnd.openxmlformats-officedocument.presentationml.tags+xml"/>
  <Override PartName="/ppt/notesSlides/notesSlide20.xml" ContentType="application/vnd.openxmlformats-officedocument.presentationml.notesSlide+xml"/>
  <Override PartName="/ppt/tags/tag57.xml" ContentType="application/vnd.openxmlformats-officedocument.presentationml.tags+xml"/>
  <Override PartName="/ppt/notesSlides/notesSlide21.xml" ContentType="application/vnd.openxmlformats-officedocument.presentationml.notesSlide+xml"/>
  <Override PartName="/ppt/tags/tag58.xml" ContentType="application/vnd.openxmlformats-officedocument.presentationml.tags+xml"/>
  <Override PartName="/ppt/notesSlides/notesSlide22.xml" ContentType="application/vnd.openxmlformats-officedocument.presentationml.notesSlide+xml"/>
  <Override PartName="/ppt/tags/tag59.xml" ContentType="application/vnd.openxmlformats-officedocument.presentationml.tags+xml"/>
  <Override PartName="/ppt/notesSlides/notesSlide2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60.xml" ContentType="application/vnd.openxmlformats-officedocument.presentationml.tags+xml"/>
  <Override PartName="/ppt/notesSlides/notesSlide24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1.xml" ContentType="application/vnd.openxmlformats-officedocument.presentationml.tags+xml"/>
  <Override PartName="/ppt/notesSlides/notesSlide25.xml" ContentType="application/vnd.openxmlformats-officedocument.presentationml.notesSlide+xml"/>
  <Override PartName="/ppt/tags/tag62.xml" ContentType="application/vnd.openxmlformats-officedocument.presentationml.tags+xml"/>
  <Override PartName="/ppt/notesSlides/notesSlide26.xml" ContentType="application/vnd.openxmlformats-officedocument.presentationml.notesSlide+xml"/>
  <Override PartName="/ppt/tags/tag63.xml" ContentType="application/vnd.openxmlformats-officedocument.presentationml.tags+xml"/>
  <Override PartName="/ppt/notesSlides/notesSlide27.xml" ContentType="application/vnd.openxmlformats-officedocument.presentationml.notesSlide+xml"/>
  <Override PartName="/ppt/tags/tag64.xml" ContentType="application/vnd.openxmlformats-officedocument.presentationml.tags+xml"/>
  <Override PartName="/ppt/notesSlides/notesSlide28.xml" ContentType="application/vnd.openxmlformats-officedocument.presentationml.notesSlide+xml"/>
  <Override PartName="/ppt/tags/tag65.xml" ContentType="application/vnd.openxmlformats-officedocument.presentationml.tags+xml"/>
  <Override PartName="/ppt/notesSlides/notesSlide29.xml" ContentType="application/vnd.openxmlformats-officedocument.presentationml.notesSlide+xml"/>
  <Override PartName="/ppt/tags/tag66.xml" ContentType="application/vnd.openxmlformats-officedocument.presentationml.tags+xml"/>
  <Override PartName="/ppt/notesSlides/notesSlide30.xml" ContentType="application/vnd.openxmlformats-officedocument.presentationml.notesSlide+xml"/>
  <Override PartName="/ppt/tags/tag67.xml" ContentType="application/vnd.openxmlformats-officedocument.presentationml.tags+xml"/>
  <Override PartName="/ppt/notesSlides/notesSlide31.xml" ContentType="application/vnd.openxmlformats-officedocument.presentationml.notesSlide+xml"/>
  <Override PartName="/ppt/tags/tag68.xml" ContentType="application/vnd.openxmlformats-officedocument.presentationml.tags+xml"/>
  <Override PartName="/ppt/notesSlides/notesSlide32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bookmarkIdSeed="12">
  <p:sldMasterIdLst>
    <p:sldMasterId id="2147483648" r:id="rId1"/>
    <p:sldMasterId id="2147483665" r:id="rId2"/>
    <p:sldMasterId id="2147483681" r:id="rId3"/>
    <p:sldMasterId id="2147483697" r:id="rId4"/>
    <p:sldMasterId id="2147483713" r:id="rId5"/>
  </p:sldMasterIdLst>
  <p:notesMasterIdLst>
    <p:notesMasterId r:id="rId39"/>
  </p:notesMasterIdLst>
  <p:handoutMasterIdLst>
    <p:handoutMasterId r:id="rId40"/>
  </p:handoutMasterIdLst>
  <p:sldIdLst>
    <p:sldId id="1782" r:id="rId6"/>
    <p:sldId id="1927" r:id="rId7"/>
    <p:sldId id="1954" r:id="rId8"/>
    <p:sldId id="1953" r:id="rId9"/>
    <p:sldId id="1934" r:id="rId10"/>
    <p:sldId id="1854" r:id="rId11"/>
    <p:sldId id="1941" r:id="rId12"/>
    <p:sldId id="1942" r:id="rId13"/>
    <p:sldId id="1893" r:id="rId14"/>
    <p:sldId id="1894" r:id="rId15"/>
    <p:sldId id="1928" r:id="rId16"/>
    <p:sldId id="1929" r:id="rId17"/>
    <p:sldId id="1955" r:id="rId18"/>
    <p:sldId id="1949" r:id="rId19"/>
    <p:sldId id="1903" r:id="rId20"/>
    <p:sldId id="1902" r:id="rId21"/>
    <p:sldId id="1901" r:id="rId22"/>
    <p:sldId id="1904" r:id="rId23"/>
    <p:sldId id="1916" r:id="rId24"/>
    <p:sldId id="1944" r:id="rId25"/>
    <p:sldId id="1943" r:id="rId26"/>
    <p:sldId id="1948" r:id="rId27"/>
    <p:sldId id="1896" r:id="rId28"/>
    <p:sldId id="1917" r:id="rId29"/>
    <p:sldId id="1950" r:id="rId30"/>
    <p:sldId id="1897" r:id="rId31"/>
    <p:sldId id="1923" r:id="rId32"/>
    <p:sldId id="1925" r:id="rId33"/>
    <p:sldId id="1937" r:id="rId34"/>
    <p:sldId id="1951" r:id="rId35"/>
    <p:sldId id="1931" r:id="rId36"/>
    <p:sldId id="1952" r:id="rId37"/>
    <p:sldId id="1914" r:id="rId38"/>
  </p:sldIdLst>
  <p:sldSz cx="10361613" cy="7226300"/>
  <p:notesSz cx="9296400" cy="7010400"/>
  <p:custDataLst>
    <p:tags r:id="rId41"/>
  </p:custDataLst>
  <p:defaultTextStyle>
    <a:defPPr>
      <a:defRPr lang="it-IT"/>
    </a:defPPr>
    <a:lvl1pPr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Verdana" pitchFamily="34" charset="0"/>
        <a:ea typeface="ヒラギノ角ゴ Pro W3"/>
        <a:cs typeface="ヒラギノ角ゴ Pro W3"/>
      </a:defRPr>
    </a:lvl1pPr>
    <a:lvl2pPr marL="479425" indent="-22225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Verdana" pitchFamily="34" charset="0"/>
        <a:ea typeface="ヒラギノ角ゴ Pro W3"/>
        <a:cs typeface="ヒラギノ角ゴ Pro W3"/>
      </a:defRPr>
    </a:lvl2pPr>
    <a:lvl3pPr marL="958850" indent="-4445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Verdana" pitchFamily="34" charset="0"/>
        <a:ea typeface="ヒラギノ角ゴ Pro W3"/>
        <a:cs typeface="ヒラギノ角ゴ Pro W3"/>
      </a:defRPr>
    </a:lvl3pPr>
    <a:lvl4pPr marL="1438275" indent="-66675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Verdana" pitchFamily="34" charset="0"/>
        <a:ea typeface="ヒラギノ角ゴ Pro W3"/>
        <a:cs typeface="ヒラギノ角ゴ Pro W3"/>
      </a:defRPr>
    </a:lvl4pPr>
    <a:lvl5pPr marL="1917700" indent="-88900" algn="l" rtl="0" fontAlgn="base">
      <a:spcBef>
        <a:spcPct val="0"/>
      </a:spcBef>
      <a:spcAft>
        <a:spcPct val="0"/>
      </a:spcAft>
      <a:defRPr b="1" kern="1200">
        <a:solidFill>
          <a:srgbClr val="000000"/>
        </a:solidFill>
        <a:latin typeface="Verdana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b="1" kern="1200">
        <a:solidFill>
          <a:srgbClr val="000000"/>
        </a:solidFill>
        <a:latin typeface="Verdana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b="1" kern="1200">
        <a:solidFill>
          <a:srgbClr val="000000"/>
        </a:solidFill>
        <a:latin typeface="Verdana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b="1" kern="1200">
        <a:solidFill>
          <a:srgbClr val="000000"/>
        </a:solidFill>
        <a:latin typeface="Verdana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b="1" kern="1200">
        <a:solidFill>
          <a:srgbClr val="000000"/>
        </a:solidFill>
        <a:latin typeface="Verdana" pitchFamily="34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9" userDrawn="1">
          <p15:clr>
            <a:srgbClr val="A4A3A4"/>
          </p15:clr>
        </p15:guide>
        <p15:guide id="2" pos="2928" userDrawn="1">
          <p15:clr>
            <a:srgbClr val="A4A3A4"/>
          </p15:clr>
        </p15:guide>
        <p15:guide id="3" orient="horz" pos="2261" userDrawn="1">
          <p15:clr>
            <a:srgbClr val="A4A3A4"/>
          </p15:clr>
        </p15:guide>
        <p15:guide id="4" pos="2745" userDrawn="1">
          <p15:clr>
            <a:srgbClr val="A4A3A4"/>
          </p15:clr>
        </p15:guide>
        <p15:guide id="5" orient="horz" pos="2160" userDrawn="1">
          <p15:clr>
            <a:srgbClr val="A4A3A4"/>
          </p15:clr>
        </p15:guide>
        <p15:guide id="6" pos="312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66"/>
    <a:srgbClr val="CCFF33"/>
    <a:srgbClr val="8DB4E3"/>
    <a:srgbClr val="56F000"/>
    <a:srgbClr val="00FF00"/>
    <a:srgbClr val="00CC00"/>
    <a:srgbClr val="FF99FF"/>
    <a:srgbClr val="FF3300"/>
    <a:srgbClr val="05AF15"/>
    <a:srgbClr val="7179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04" autoAdjust="0"/>
    <p:restoredTop sz="95394" autoAdjust="0"/>
  </p:normalViewPr>
  <p:slideViewPr>
    <p:cSldViewPr snapToGrid="0">
      <p:cViewPr varScale="1">
        <p:scale>
          <a:sx n="73" d="100"/>
          <a:sy n="73" d="100"/>
        </p:scale>
        <p:origin x="1133" y="67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14" d="100"/>
          <a:sy n="114" d="100"/>
        </p:scale>
        <p:origin x="-228" y="-84"/>
      </p:cViewPr>
      <p:guideLst>
        <p:guide orient="horz" pos="2209"/>
        <p:guide pos="2928"/>
        <p:guide orient="horz" pos="2261"/>
        <p:guide pos="2745"/>
        <p:guide orient="horz" pos="2160"/>
        <p:guide pos="31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20" Type="http://schemas.openxmlformats.org/officeDocument/2006/relationships/slide" Target="slides/slide15.xml"/><Relationship Id="rId41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0D5DA7F-F9F8-4EF0-AD73-F99FEDF2FCE4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E2B4388-A1D2-4423-A9B5-B487BFF2775A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/>
        <a:scene3d>
          <a:camera prst="orthographicFront">
            <a:rot lat="0" lon="0" rev="0"/>
          </a:camera>
          <a:lightRig rig="glow" dir="t">
            <a:rot lat="0" lon="0" rev="14100000"/>
          </a:lightRig>
        </a:scene3d>
        <a:sp3d prstMaterial="softEdge">
          <a:bevelT w="127000" prst="artDeco"/>
        </a:sp3d>
      </dgm:spPr>
      <dgm:t>
        <a:bodyPr/>
        <a:lstStyle/>
        <a:p>
          <a:pPr algn="just"/>
          <a:r>
            <a:rPr lang="sr-Latn-ME" sz="1600" b="0" dirty="0">
              <a:solidFill>
                <a:schemeClr val="tx2"/>
              </a:solidFill>
            </a:rPr>
            <a:t>Rekonstrukcija hidromašinske i elektro opreme agregata</a:t>
          </a:r>
          <a:r>
            <a:rPr lang="en-US" sz="1600" b="0" dirty="0">
              <a:solidFill>
                <a:schemeClr val="tx2"/>
              </a:solidFill>
            </a:rPr>
            <a:t> A1, A2 </a:t>
          </a:r>
          <a:r>
            <a:rPr lang="sr-Latn-ME" sz="1600" b="0" dirty="0">
              <a:solidFill>
                <a:schemeClr val="tx2"/>
              </a:solidFill>
            </a:rPr>
            <a:t>i</a:t>
          </a:r>
          <a:r>
            <a:rPr lang="en-US" sz="1600" b="0" dirty="0">
              <a:solidFill>
                <a:schemeClr val="tx2"/>
              </a:solidFill>
            </a:rPr>
            <a:t> A3 </a:t>
          </a:r>
          <a:r>
            <a:rPr lang="sr-Latn-ME" sz="1600" b="0" dirty="0">
              <a:solidFill>
                <a:schemeClr val="tx2"/>
              </a:solidFill>
            </a:rPr>
            <a:t>i sopstvene potrošnje elektrane; </a:t>
          </a:r>
          <a:endParaRPr lang="en-GB" sz="1600" b="0" dirty="0">
            <a:solidFill>
              <a:schemeClr val="tx2"/>
            </a:solidFill>
          </a:endParaRPr>
        </a:p>
        <a:p>
          <a:pPr algn="just"/>
          <a:r>
            <a:rPr lang="sr-Latn-ME" sz="1400" b="0" i="1" dirty="0">
              <a:solidFill>
                <a:schemeClr val="tx2"/>
              </a:solidFill>
            </a:rPr>
            <a:t>završetak radova 2022. godine</a:t>
          </a:r>
          <a:endParaRPr lang="en-US" sz="1400" b="0" i="1" dirty="0">
            <a:solidFill>
              <a:schemeClr val="tx2"/>
            </a:solidFill>
          </a:endParaRPr>
        </a:p>
      </dgm:t>
    </dgm:pt>
    <dgm:pt modelId="{D4E9AF41-5C61-4750-8620-B68365B9914E}" type="parTrans" cxnId="{FD46753A-89F7-4CB1-832D-52BB2CC5CBE4}">
      <dgm:prSet/>
      <dgm:spPr/>
      <dgm:t>
        <a:bodyPr/>
        <a:lstStyle/>
        <a:p>
          <a:endParaRPr lang="en-US"/>
        </a:p>
      </dgm:t>
    </dgm:pt>
    <dgm:pt modelId="{8E005DD4-7429-4E17-9C68-72D86B66FA11}" type="sibTrans" cxnId="{FD46753A-89F7-4CB1-832D-52BB2CC5CBE4}">
      <dgm:prSet/>
      <dgm:spPr>
        <a:ln>
          <a:noFill/>
        </a:ln>
        <a:effectLst>
          <a:outerShdw blurRad="184150" dist="241300" dir="11520000" sx="110000" sy="110000" algn="ctr">
            <a:srgbClr val="000000">
              <a:alpha val="18000"/>
            </a:srgbClr>
          </a:outerShdw>
        </a:effectLst>
        <a:scene3d>
          <a:camera prst="perspectiveFront" fov="5100000">
            <a:rot lat="0" lon="2100000" rev="0"/>
          </a:camera>
          <a:lightRig rig="flood" dir="t">
            <a:rot lat="0" lon="0" rev="13800000"/>
          </a:lightRig>
        </a:scene3d>
        <a:sp3d extrusionH="107950" prstMaterial="plastic">
          <a:bevelT w="82550" h="63500" prst="divot"/>
          <a:bevelB/>
        </a:sp3d>
      </dgm:spPr>
      <dgm:t>
        <a:bodyPr/>
        <a:lstStyle/>
        <a:p>
          <a:endParaRPr lang="en-US"/>
        </a:p>
      </dgm:t>
    </dgm:pt>
    <dgm:pt modelId="{5C10651E-6DD2-4045-9566-ACF82756AE68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/>
        <a:scene3d>
          <a:camera prst="orthographicFront">
            <a:rot lat="0" lon="0" rev="0"/>
          </a:camera>
          <a:lightRig rig="glow" dir="t">
            <a:rot lat="0" lon="0" rev="14100000"/>
          </a:lightRig>
        </a:scene3d>
        <a:sp3d prstMaterial="softEdge">
          <a:bevelT w="127000" prst="artDeco"/>
        </a:sp3d>
      </dgm:spPr>
      <dgm:t>
        <a:bodyPr/>
        <a:lstStyle/>
        <a:p>
          <a:pPr algn="l"/>
          <a:r>
            <a:rPr lang="sr-Latn-ME" sz="1600" b="0" dirty="0">
              <a:solidFill>
                <a:schemeClr val="tx2"/>
              </a:solidFill>
            </a:rPr>
            <a:t>Ugovor o kreditnom finansiranju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sa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noProof="0" dirty="0">
              <a:solidFill>
                <a:schemeClr val="tx2"/>
              </a:solidFill>
            </a:rPr>
            <a:t>Kf</a:t>
          </a:r>
          <a:r>
            <a:rPr lang="sr-Latn-ME" sz="1600" b="0" dirty="0">
              <a:solidFill>
                <a:schemeClr val="tx2"/>
              </a:solidFill>
            </a:rPr>
            <a:t>W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b</a:t>
          </a:r>
          <a:r>
            <a:rPr lang="sr-Latn-ME" sz="1600" b="0" noProof="0" dirty="0">
              <a:solidFill>
                <a:schemeClr val="tx2"/>
              </a:solidFill>
            </a:rPr>
            <a:t>ank</a:t>
          </a:r>
          <a:r>
            <a:rPr lang="sr-Latn-ME" sz="1600" b="0" dirty="0">
              <a:solidFill>
                <a:schemeClr val="tx2"/>
              </a:solidFill>
            </a:rPr>
            <a:t>om </a:t>
          </a:r>
          <a:endParaRPr lang="en-GB" sz="1600" b="0" dirty="0">
            <a:solidFill>
              <a:schemeClr val="tx2"/>
            </a:solidFill>
          </a:endParaRPr>
        </a:p>
        <a:p>
          <a:pPr algn="l"/>
          <a:r>
            <a:rPr lang="sr-Latn-ME" sz="1400" b="0" i="1" dirty="0">
              <a:solidFill>
                <a:schemeClr val="tx2"/>
              </a:solidFill>
            </a:rPr>
            <a:t>(vrijednos</a:t>
          </a:r>
          <a:r>
            <a:rPr lang="en-GB" sz="1400" b="0" i="1" dirty="0">
              <a:solidFill>
                <a:schemeClr val="tx2"/>
              </a:solidFill>
            </a:rPr>
            <a:t>t </a:t>
          </a:r>
          <a:r>
            <a:rPr lang="sr-Latn-ME" sz="1400" b="0" i="1" dirty="0">
              <a:solidFill>
                <a:schemeClr val="tx2"/>
              </a:solidFill>
            </a:rPr>
            <a:t>kredita </a:t>
          </a:r>
          <a:r>
            <a:rPr lang="en-US" sz="1400" b="0" i="1" dirty="0">
              <a:solidFill>
                <a:schemeClr val="tx2"/>
              </a:solidFill>
            </a:rPr>
            <a:t>€16</a:t>
          </a:r>
          <a:r>
            <a:rPr lang="sr-Latn-ME" sz="1400" b="0" i="1" dirty="0">
              <a:solidFill>
                <a:schemeClr val="tx2"/>
              </a:solidFill>
            </a:rPr>
            <a:t>M)</a:t>
          </a:r>
          <a:endParaRPr lang="en-US" sz="1400" i="1" dirty="0">
            <a:solidFill>
              <a:schemeClr val="tx2"/>
            </a:solidFill>
          </a:endParaRPr>
        </a:p>
      </dgm:t>
    </dgm:pt>
    <dgm:pt modelId="{20F74649-DD45-4C6F-9226-CCA64079CFCD}" type="parTrans" cxnId="{D2D88AD6-DF9D-4EA2-987E-54DDADBF087C}">
      <dgm:prSet/>
      <dgm:spPr/>
      <dgm:t>
        <a:bodyPr/>
        <a:lstStyle/>
        <a:p>
          <a:endParaRPr lang="en-US"/>
        </a:p>
      </dgm:t>
    </dgm:pt>
    <dgm:pt modelId="{32306261-5A86-4E0D-BAE3-6C14516CC04A}" type="sibTrans" cxnId="{D2D88AD6-DF9D-4EA2-987E-54DDADBF087C}">
      <dgm:prSet/>
      <dgm:spPr>
        <a:ln>
          <a:noFill/>
        </a:ln>
        <a:effectLst>
          <a:outerShdw blurRad="184150" dist="241300" dir="11520000" sx="110000" sy="110000" algn="ctr">
            <a:srgbClr val="000000">
              <a:alpha val="18000"/>
            </a:srgbClr>
          </a:outerShdw>
        </a:effectLst>
        <a:scene3d>
          <a:camera prst="perspectiveFront" fov="5100000">
            <a:rot lat="0" lon="2100000" rev="0"/>
          </a:camera>
          <a:lightRig rig="flood" dir="t">
            <a:rot lat="0" lon="0" rev="13800000"/>
          </a:lightRig>
        </a:scene3d>
        <a:sp3d extrusionH="107950" prstMaterial="plastic">
          <a:bevelT w="82550" h="63500" prst="divot"/>
          <a:bevelB/>
        </a:sp3d>
      </dgm:spPr>
      <dgm:t>
        <a:bodyPr/>
        <a:lstStyle/>
        <a:p>
          <a:endParaRPr lang="en-US"/>
        </a:p>
      </dgm:t>
    </dgm:pt>
    <dgm:pt modelId="{622E6A56-7B67-4010-81B3-4D377288E617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/>
        <a:scene3d>
          <a:camera prst="orthographicFront">
            <a:rot lat="0" lon="0" rev="0"/>
          </a:camera>
          <a:lightRig rig="glow" dir="t">
            <a:rot lat="0" lon="0" rev="14100000"/>
          </a:lightRig>
        </a:scene3d>
        <a:sp3d prstMaterial="softEdge">
          <a:bevelT w="127000" prst="artDeco"/>
        </a:sp3d>
      </dgm:spPr>
      <dgm:t>
        <a:bodyPr/>
        <a:lstStyle/>
        <a:p>
          <a:pPr algn="just"/>
          <a:r>
            <a:rPr lang="sr-Latn-ME" sz="1600" b="0" dirty="0">
              <a:solidFill>
                <a:schemeClr val="tx2"/>
              </a:solidFill>
            </a:rPr>
            <a:t>U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j</a:t>
          </a:r>
          <a:r>
            <a:rPr lang="sr-Latn-ME" sz="1600" b="0" noProof="0" dirty="0">
              <a:solidFill>
                <a:schemeClr val="tx2"/>
              </a:solidFill>
            </a:rPr>
            <a:t>ul</a:t>
          </a:r>
          <a:r>
            <a:rPr lang="sr-Latn-ME" sz="1600" b="0" dirty="0">
              <a:solidFill>
                <a:schemeClr val="tx2"/>
              </a:solidFill>
            </a:rPr>
            <a:t>u</a:t>
          </a:r>
          <a:r>
            <a:rPr lang="en-US" sz="1600" b="0" dirty="0">
              <a:solidFill>
                <a:schemeClr val="tx2"/>
              </a:solidFill>
            </a:rPr>
            <a:t> 2018</a:t>
          </a:r>
          <a:r>
            <a:rPr lang="sr-Latn-ME" sz="1600" b="0" dirty="0">
              <a:solidFill>
                <a:schemeClr val="tx2"/>
              </a:solidFill>
            </a:rPr>
            <a:t>.</a:t>
          </a:r>
          <a:r>
            <a:rPr lang="en-US" sz="1600" b="0" dirty="0">
              <a:solidFill>
                <a:schemeClr val="tx2"/>
              </a:solidFill>
            </a:rPr>
            <a:t> EPCG </a:t>
          </a:r>
          <a:r>
            <a:rPr lang="sr-Latn-ME" sz="1600" b="0" dirty="0">
              <a:solidFill>
                <a:schemeClr val="tx2"/>
              </a:solidFill>
            </a:rPr>
            <a:t>je zaključila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Ugovor sa izvođačem</a:t>
          </a:r>
          <a:r>
            <a:rPr lang="en-US" sz="1600" b="0" dirty="0">
              <a:solidFill>
                <a:schemeClr val="tx2"/>
              </a:solidFill>
            </a:rPr>
            <a:t> JV </a:t>
          </a:r>
          <a:r>
            <a:rPr lang="sr-Latn-ME" sz="1600" b="0" noProof="0" dirty="0">
              <a:solidFill>
                <a:schemeClr val="tx2"/>
              </a:solidFill>
            </a:rPr>
            <a:t>Litostroj</a:t>
          </a:r>
          <a:r>
            <a:rPr lang="en-US" sz="1600" b="0" dirty="0">
              <a:solidFill>
                <a:schemeClr val="tx2"/>
              </a:solidFill>
            </a:rPr>
            <a:t> Power </a:t>
          </a:r>
          <a:r>
            <a:rPr lang="sr-Latn-ME" sz="1600" b="0" dirty="0">
              <a:solidFill>
                <a:schemeClr val="tx2"/>
              </a:solidFill>
            </a:rPr>
            <a:t>iz</a:t>
          </a:r>
          <a:r>
            <a:rPr lang="sr-Latn-ME" sz="1600" b="0" noProof="0" dirty="0">
              <a:solidFill>
                <a:schemeClr val="tx2"/>
              </a:solidFill>
            </a:rPr>
            <a:t> Sloven</a:t>
          </a:r>
          <a:r>
            <a:rPr lang="sr-Latn-ME" sz="1600" b="0" dirty="0">
              <a:solidFill>
                <a:schemeClr val="tx2"/>
              </a:solidFill>
            </a:rPr>
            <a:t>ije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i</a:t>
          </a:r>
          <a:r>
            <a:rPr lang="en-US" sz="1600" b="0" dirty="0">
              <a:solidFill>
                <a:schemeClr val="tx2"/>
              </a:solidFill>
            </a:rPr>
            <a:t> ABB </a:t>
          </a:r>
          <a:r>
            <a:rPr lang="sr-Latn-ME" sz="1600" b="0" dirty="0">
              <a:solidFill>
                <a:schemeClr val="tx2"/>
              </a:solidFill>
            </a:rPr>
            <a:t>iz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Italije</a:t>
          </a:r>
          <a:endParaRPr lang="en-GB" sz="1600" b="0" dirty="0">
            <a:solidFill>
              <a:schemeClr val="tx2"/>
            </a:solidFill>
          </a:endParaRPr>
        </a:p>
        <a:p>
          <a:pPr algn="l"/>
          <a:r>
            <a:rPr lang="sr-Latn-ME" sz="1400" b="0" i="1" noProof="0" dirty="0">
              <a:solidFill>
                <a:schemeClr val="tx2"/>
              </a:solidFill>
            </a:rPr>
            <a:t>Vrijednost ugovora </a:t>
          </a:r>
          <a:r>
            <a:rPr lang="en-US" sz="1400" b="0" i="1" dirty="0">
              <a:solidFill>
                <a:schemeClr val="tx2"/>
              </a:solidFill>
            </a:rPr>
            <a:t>€10</a:t>
          </a:r>
          <a:r>
            <a:rPr lang="sr-Latn-ME" sz="1400" b="0" i="1" dirty="0">
              <a:solidFill>
                <a:schemeClr val="tx2"/>
              </a:solidFill>
            </a:rPr>
            <a:t>.3M</a:t>
          </a:r>
          <a:endParaRPr lang="en-US" sz="1400" b="0" i="1" dirty="0">
            <a:solidFill>
              <a:schemeClr val="tx2"/>
            </a:solidFill>
          </a:endParaRPr>
        </a:p>
      </dgm:t>
    </dgm:pt>
    <dgm:pt modelId="{8DEB0AD0-DBAF-48E5-A161-E0E221B9E4F4}" type="parTrans" cxnId="{090A53C5-D110-440A-9C0D-687D345D1AFC}">
      <dgm:prSet/>
      <dgm:spPr/>
      <dgm:t>
        <a:bodyPr/>
        <a:lstStyle/>
        <a:p>
          <a:endParaRPr lang="en-US"/>
        </a:p>
      </dgm:t>
    </dgm:pt>
    <dgm:pt modelId="{75F138F5-358B-4624-9574-85EE3BD62B57}" type="sibTrans" cxnId="{090A53C5-D110-440A-9C0D-687D345D1AFC}">
      <dgm:prSet/>
      <dgm:spPr/>
      <dgm:t>
        <a:bodyPr/>
        <a:lstStyle/>
        <a:p>
          <a:endParaRPr lang="en-US"/>
        </a:p>
      </dgm:t>
    </dgm:pt>
    <dgm:pt modelId="{28C4DD26-A1A0-4217-969A-054BDC8FC498}" type="pres">
      <dgm:prSet presAssocID="{00D5DA7F-F9F8-4EF0-AD73-F99FEDF2FCE4}" presName="outerComposite" presStyleCnt="0">
        <dgm:presLayoutVars>
          <dgm:chMax val="5"/>
          <dgm:dir/>
          <dgm:resizeHandles val="exact"/>
        </dgm:presLayoutVars>
      </dgm:prSet>
      <dgm:spPr/>
    </dgm:pt>
    <dgm:pt modelId="{621E58C2-8042-4806-8E86-A710973D8221}" type="pres">
      <dgm:prSet presAssocID="{00D5DA7F-F9F8-4EF0-AD73-F99FEDF2FCE4}" presName="dummyMaxCanvas" presStyleCnt="0">
        <dgm:presLayoutVars/>
      </dgm:prSet>
      <dgm:spPr/>
    </dgm:pt>
    <dgm:pt modelId="{F177A3EC-7E00-4A44-9FC5-27855E2E1F0B}" type="pres">
      <dgm:prSet presAssocID="{00D5DA7F-F9F8-4EF0-AD73-F99FEDF2FCE4}" presName="ThreeNodes_1" presStyleLbl="node1" presStyleIdx="0" presStyleCnt="3" custLinFactNeighborX="2874" custLinFactNeighborY="3152">
        <dgm:presLayoutVars>
          <dgm:bulletEnabled val="1"/>
        </dgm:presLayoutVars>
      </dgm:prSet>
      <dgm:spPr/>
    </dgm:pt>
    <dgm:pt modelId="{D9F3CE7F-2564-429D-944C-61F29BE7587D}" type="pres">
      <dgm:prSet presAssocID="{00D5DA7F-F9F8-4EF0-AD73-F99FEDF2FCE4}" presName="ThreeNodes_2" presStyleLbl="node1" presStyleIdx="1" presStyleCnt="3">
        <dgm:presLayoutVars>
          <dgm:bulletEnabled val="1"/>
        </dgm:presLayoutVars>
      </dgm:prSet>
      <dgm:spPr/>
    </dgm:pt>
    <dgm:pt modelId="{285C46EE-5C20-4845-9BDF-69821862C37F}" type="pres">
      <dgm:prSet presAssocID="{00D5DA7F-F9F8-4EF0-AD73-F99FEDF2FCE4}" presName="ThreeNodes_3" presStyleLbl="node1" presStyleIdx="2" presStyleCnt="3" custScaleY="110110" custLinFactNeighborX="-2651" custLinFactNeighborY="1261">
        <dgm:presLayoutVars>
          <dgm:bulletEnabled val="1"/>
        </dgm:presLayoutVars>
      </dgm:prSet>
      <dgm:spPr/>
    </dgm:pt>
    <dgm:pt modelId="{3F32C626-B60A-4494-BBE6-7EEF667E0BF6}" type="pres">
      <dgm:prSet presAssocID="{00D5DA7F-F9F8-4EF0-AD73-F99FEDF2FCE4}" presName="ThreeConn_1-2" presStyleLbl="fgAccFollowNode1" presStyleIdx="0" presStyleCnt="2">
        <dgm:presLayoutVars>
          <dgm:bulletEnabled val="1"/>
        </dgm:presLayoutVars>
      </dgm:prSet>
      <dgm:spPr/>
    </dgm:pt>
    <dgm:pt modelId="{3D8B4FDC-B9DD-413E-A9BD-6D8F1B49E38C}" type="pres">
      <dgm:prSet presAssocID="{00D5DA7F-F9F8-4EF0-AD73-F99FEDF2FCE4}" presName="ThreeConn_2-3" presStyleLbl="fgAccFollowNode1" presStyleIdx="1" presStyleCnt="2">
        <dgm:presLayoutVars>
          <dgm:bulletEnabled val="1"/>
        </dgm:presLayoutVars>
      </dgm:prSet>
      <dgm:spPr/>
    </dgm:pt>
    <dgm:pt modelId="{C9C91896-0DDE-4B3A-BD5A-52842A1CCEDC}" type="pres">
      <dgm:prSet presAssocID="{00D5DA7F-F9F8-4EF0-AD73-F99FEDF2FCE4}" presName="ThreeNodes_1_text" presStyleLbl="node1" presStyleIdx="2" presStyleCnt="3">
        <dgm:presLayoutVars>
          <dgm:bulletEnabled val="1"/>
        </dgm:presLayoutVars>
      </dgm:prSet>
      <dgm:spPr/>
    </dgm:pt>
    <dgm:pt modelId="{4005A71E-BDF7-4EF6-9143-AC3137DECD62}" type="pres">
      <dgm:prSet presAssocID="{00D5DA7F-F9F8-4EF0-AD73-F99FEDF2FCE4}" presName="ThreeNodes_2_text" presStyleLbl="node1" presStyleIdx="2" presStyleCnt="3">
        <dgm:presLayoutVars>
          <dgm:bulletEnabled val="1"/>
        </dgm:presLayoutVars>
      </dgm:prSet>
      <dgm:spPr/>
    </dgm:pt>
    <dgm:pt modelId="{58474801-6F66-4DB9-881F-61887172710A}" type="pres">
      <dgm:prSet presAssocID="{00D5DA7F-F9F8-4EF0-AD73-F99FEDF2FCE4}" presName="ThreeNodes_3_text" presStyleLbl="node1" presStyleIdx="2" presStyleCnt="3">
        <dgm:presLayoutVars>
          <dgm:bulletEnabled val="1"/>
        </dgm:presLayoutVars>
      </dgm:prSet>
      <dgm:spPr/>
    </dgm:pt>
  </dgm:ptLst>
  <dgm:cxnLst>
    <dgm:cxn modelId="{9D288535-22E4-414D-B48F-B8F8018765DC}" type="presOf" srcId="{622E6A56-7B67-4010-81B3-4D377288E617}" destId="{58474801-6F66-4DB9-881F-61887172710A}" srcOrd="1" destOrd="0" presId="urn:microsoft.com/office/officeart/2005/8/layout/vProcess5"/>
    <dgm:cxn modelId="{FD46753A-89F7-4CB1-832D-52BB2CC5CBE4}" srcId="{00D5DA7F-F9F8-4EF0-AD73-F99FEDF2FCE4}" destId="{0E2B4388-A1D2-4423-A9B5-B487BFF2775A}" srcOrd="0" destOrd="0" parTransId="{D4E9AF41-5C61-4750-8620-B68365B9914E}" sibTransId="{8E005DD4-7429-4E17-9C68-72D86B66FA11}"/>
    <dgm:cxn modelId="{8BFEEE4B-F08B-414A-914C-D7E992A86AA1}" type="presOf" srcId="{00D5DA7F-F9F8-4EF0-AD73-F99FEDF2FCE4}" destId="{28C4DD26-A1A0-4217-969A-054BDC8FC498}" srcOrd="0" destOrd="0" presId="urn:microsoft.com/office/officeart/2005/8/layout/vProcess5"/>
    <dgm:cxn modelId="{581D414F-2A81-4507-A342-689058AA6206}" type="presOf" srcId="{0E2B4388-A1D2-4423-A9B5-B487BFF2775A}" destId="{C9C91896-0DDE-4B3A-BD5A-52842A1CCEDC}" srcOrd="1" destOrd="0" presId="urn:microsoft.com/office/officeart/2005/8/layout/vProcess5"/>
    <dgm:cxn modelId="{25908670-D421-407F-9E37-857F1120C5F5}" type="presOf" srcId="{32306261-5A86-4E0D-BAE3-6C14516CC04A}" destId="{3D8B4FDC-B9DD-413E-A9BD-6D8F1B49E38C}" srcOrd="0" destOrd="0" presId="urn:microsoft.com/office/officeart/2005/8/layout/vProcess5"/>
    <dgm:cxn modelId="{1044EB56-7CD3-416E-A17A-5770341DFE4F}" type="presOf" srcId="{0E2B4388-A1D2-4423-A9B5-B487BFF2775A}" destId="{F177A3EC-7E00-4A44-9FC5-27855E2E1F0B}" srcOrd="0" destOrd="0" presId="urn:microsoft.com/office/officeart/2005/8/layout/vProcess5"/>
    <dgm:cxn modelId="{3FDA7779-6277-411C-9EE9-90AA695BC5EB}" type="presOf" srcId="{622E6A56-7B67-4010-81B3-4D377288E617}" destId="{285C46EE-5C20-4845-9BDF-69821862C37F}" srcOrd="0" destOrd="0" presId="urn:microsoft.com/office/officeart/2005/8/layout/vProcess5"/>
    <dgm:cxn modelId="{4CE867BA-AE22-45A7-9409-E485D8421EE1}" type="presOf" srcId="{8E005DD4-7429-4E17-9C68-72D86B66FA11}" destId="{3F32C626-B60A-4494-BBE6-7EEF667E0BF6}" srcOrd="0" destOrd="0" presId="urn:microsoft.com/office/officeart/2005/8/layout/vProcess5"/>
    <dgm:cxn modelId="{090A53C5-D110-440A-9C0D-687D345D1AFC}" srcId="{00D5DA7F-F9F8-4EF0-AD73-F99FEDF2FCE4}" destId="{622E6A56-7B67-4010-81B3-4D377288E617}" srcOrd="2" destOrd="0" parTransId="{8DEB0AD0-DBAF-48E5-A161-E0E221B9E4F4}" sibTransId="{75F138F5-358B-4624-9574-85EE3BD62B57}"/>
    <dgm:cxn modelId="{D2D88AD6-DF9D-4EA2-987E-54DDADBF087C}" srcId="{00D5DA7F-F9F8-4EF0-AD73-F99FEDF2FCE4}" destId="{5C10651E-6DD2-4045-9566-ACF82756AE68}" srcOrd="1" destOrd="0" parTransId="{20F74649-DD45-4C6F-9226-CCA64079CFCD}" sibTransId="{32306261-5A86-4E0D-BAE3-6C14516CC04A}"/>
    <dgm:cxn modelId="{4CC3B7D6-AC26-4B8B-B934-D7497526E4E4}" type="presOf" srcId="{5C10651E-6DD2-4045-9566-ACF82756AE68}" destId="{4005A71E-BDF7-4EF6-9143-AC3137DECD62}" srcOrd="1" destOrd="0" presId="urn:microsoft.com/office/officeart/2005/8/layout/vProcess5"/>
    <dgm:cxn modelId="{83B5A0D7-4786-4C5E-9792-32CA20F57AD2}" type="presOf" srcId="{5C10651E-6DD2-4045-9566-ACF82756AE68}" destId="{D9F3CE7F-2564-429D-944C-61F29BE7587D}" srcOrd="0" destOrd="0" presId="urn:microsoft.com/office/officeart/2005/8/layout/vProcess5"/>
    <dgm:cxn modelId="{50800007-DF48-4E40-ABDD-D098212CCF8C}" type="presParOf" srcId="{28C4DD26-A1A0-4217-969A-054BDC8FC498}" destId="{621E58C2-8042-4806-8E86-A710973D8221}" srcOrd="0" destOrd="0" presId="urn:microsoft.com/office/officeart/2005/8/layout/vProcess5"/>
    <dgm:cxn modelId="{FD4F6BA7-83E7-4807-83DE-D3C47B87A764}" type="presParOf" srcId="{28C4DD26-A1A0-4217-969A-054BDC8FC498}" destId="{F177A3EC-7E00-4A44-9FC5-27855E2E1F0B}" srcOrd="1" destOrd="0" presId="urn:microsoft.com/office/officeart/2005/8/layout/vProcess5"/>
    <dgm:cxn modelId="{A16C1F6A-9E34-496D-AFC4-D7BC8EF70C9D}" type="presParOf" srcId="{28C4DD26-A1A0-4217-969A-054BDC8FC498}" destId="{D9F3CE7F-2564-429D-944C-61F29BE7587D}" srcOrd="2" destOrd="0" presId="urn:microsoft.com/office/officeart/2005/8/layout/vProcess5"/>
    <dgm:cxn modelId="{0F92A905-3292-457B-B772-FB6A8C7BEE64}" type="presParOf" srcId="{28C4DD26-A1A0-4217-969A-054BDC8FC498}" destId="{285C46EE-5C20-4845-9BDF-69821862C37F}" srcOrd="3" destOrd="0" presId="urn:microsoft.com/office/officeart/2005/8/layout/vProcess5"/>
    <dgm:cxn modelId="{51246A85-F9A3-4EC5-AAA1-C4091A05983E}" type="presParOf" srcId="{28C4DD26-A1A0-4217-969A-054BDC8FC498}" destId="{3F32C626-B60A-4494-BBE6-7EEF667E0BF6}" srcOrd="4" destOrd="0" presId="urn:microsoft.com/office/officeart/2005/8/layout/vProcess5"/>
    <dgm:cxn modelId="{6451623E-13EB-4635-B3A0-99056070122B}" type="presParOf" srcId="{28C4DD26-A1A0-4217-969A-054BDC8FC498}" destId="{3D8B4FDC-B9DD-413E-A9BD-6D8F1B49E38C}" srcOrd="5" destOrd="0" presId="urn:microsoft.com/office/officeart/2005/8/layout/vProcess5"/>
    <dgm:cxn modelId="{9591AE17-2E6F-4EDA-9D95-A2B4770A5CD1}" type="presParOf" srcId="{28C4DD26-A1A0-4217-969A-054BDC8FC498}" destId="{C9C91896-0DDE-4B3A-BD5A-52842A1CCEDC}" srcOrd="6" destOrd="0" presId="urn:microsoft.com/office/officeart/2005/8/layout/vProcess5"/>
    <dgm:cxn modelId="{20D53BF6-E513-46C4-8E27-94F5A8DC532F}" type="presParOf" srcId="{28C4DD26-A1A0-4217-969A-054BDC8FC498}" destId="{4005A71E-BDF7-4EF6-9143-AC3137DECD62}" srcOrd="7" destOrd="0" presId="urn:microsoft.com/office/officeart/2005/8/layout/vProcess5"/>
    <dgm:cxn modelId="{DFF4A014-E4D3-49D4-9123-ECE51650533A}" type="presParOf" srcId="{28C4DD26-A1A0-4217-969A-054BDC8FC498}" destId="{58474801-6F66-4DB9-881F-61887172710A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50C5895-CDAB-4C4B-8956-7C7150EBDEF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AE8FC1A-7EC3-41DB-851C-8A81F3F9D27E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>
          <a:outerShdw blurRad="57785" dist="33020" dir="318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gm:spPr>
      <dgm:t>
        <a:bodyPr/>
        <a:lstStyle/>
        <a:p>
          <a:pPr algn="ctr"/>
          <a:r>
            <a:rPr lang="sr-Latn-ME" sz="2000" b="1" noProof="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konstrukcija i modernizacija </a:t>
          </a:r>
        </a:p>
      </dgm:t>
    </dgm:pt>
    <dgm:pt modelId="{62EA19B6-BD9C-441F-AD36-22C94E5D2B69}" type="parTrans" cxnId="{021334BD-971B-45FD-8820-26D3F3A472F9}">
      <dgm:prSet/>
      <dgm:spPr/>
      <dgm:t>
        <a:bodyPr/>
        <a:lstStyle/>
        <a:p>
          <a:endParaRPr lang="en-US"/>
        </a:p>
      </dgm:t>
    </dgm:pt>
    <dgm:pt modelId="{52AE790D-7C32-474F-B805-B40C9C07562A}" type="sibTrans" cxnId="{021334BD-971B-45FD-8820-26D3F3A472F9}">
      <dgm:prSet/>
      <dgm:spPr/>
      <dgm:t>
        <a:bodyPr/>
        <a:lstStyle/>
        <a:p>
          <a:endParaRPr lang="en-US"/>
        </a:p>
      </dgm:t>
    </dgm:pt>
    <dgm:pt modelId="{69DAF379-AB84-4197-B8EF-F66CE5BC4BC6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r>
            <a:rPr lang="sr-Latn-ME" sz="1600" b="0" i="1" noProof="0" dirty="0">
              <a:solidFill>
                <a:schemeClr val="bg2"/>
              </a:solidFill>
            </a:rPr>
            <a:t>hidromašinske</a:t>
          </a:r>
          <a:r>
            <a:rPr lang="en-US" sz="1600" b="0" i="1" dirty="0">
              <a:solidFill>
                <a:schemeClr val="bg2"/>
              </a:solidFill>
            </a:rPr>
            <a:t> </a:t>
          </a:r>
          <a:r>
            <a:rPr lang="sr-Latn-ME" sz="1600" b="0" i="1" noProof="0" dirty="0">
              <a:solidFill>
                <a:schemeClr val="bg2"/>
              </a:solidFill>
            </a:rPr>
            <a:t>i elektro opreme</a:t>
          </a:r>
          <a:r>
            <a:rPr lang="sr-Latn-ME" sz="1600" b="0" i="1" dirty="0">
              <a:solidFill>
                <a:schemeClr val="bg2"/>
              </a:solidFill>
            </a:rPr>
            <a:t> agregata </a:t>
          </a:r>
          <a:r>
            <a:rPr lang="en-US" sz="1600" b="0" i="1" dirty="0">
              <a:solidFill>
                <a:schemeClr val="bg2"/>
              </a:solidFill>
            </a:rPr>
            <a:t>A5, A6</a:t>
          </a:r>
          <a:r>
            <a:rPr lang="sr-Latn-ME" sz="1600" b="0" i="1" dirty="0">
              <a:solidFill>
                <a:schemeClr val="bg2"/>
              </a:solidFill>
            </a:rPr>
            <a:t> i</a:t>
          </a:r>
          <a:r>
            <a:rPr lang="en-US" sz="1600" b="0" i="1" dirty="0">
              <a:solidFill>
                <a:schemeClr val="bg2"/>
              </a:solidFill>
            </a:rPr>
            <a:t> A7</a:t>
          </a:r>
          <a:endParaRPr lang="en-US" sz="1600" i="1" dirty="0"/>
        </a:p>
      </dgm:t>
    </dgm:pt>
    <dgm:pt modelId="{07DB128C-C851-46C6-8059-DAEB00274423}" type="parTrans" cxnId="{906A4EB1-9292-4566-9C3B-A64E39109266}">
      <dgm:prSet/>
      <dgm:spPr/>
      <dgm:t>
        <a:bodyPr/>
        <a:lstStyle/>
        <a:p>
          <a:endParaRPr lang="en-US"/>
        </a:p>
      </dgm:t>
    </dgm:pt>
    <dgm:pt modelId="{2D373EAC-BAFD-4F61-A272-88BD577D4A62}" type="sibTrans" cxnId="{906A4EB1-9292-4566-9C3B-A64E39109266}">
      <dgm:prSet/>
      <dgm:spPr/>
      <dgm:t>
        <a:bodyPr/>
        <a:lstStyle/>
        <a:p>
          <a:endParaRPr lang="en-US"/>
        </a:p>
      </dgm:t>
    </dgm:pt>
    <dgm:pt modelId="{470864B1-0E7C-42C5-BE9F-933139DF5A74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l"/>
          <a:endParaRPr lang="en-US" sz="1800" dirty="0"/>
        </a:p>
      </dgm:t>
    </dgm:pt>
    <dgm:pt modelId="{15DB7DB7-4088-4438-967B-C1C6C75368A9}" type="parTrans" cxnId="{C5E9FB64-E800-47B8-8FA7-FA4883D6C27D}">
      <dgm:prSet/>
      <dgm:spPr/>
      <dgm:t>
        <a:bodyPr/>
        <a:lstStyle/>
        <a:p>
          <a:endParaRPr lang="en-US"/>
        </a:p>
      </dgm:t>
    </dgm:pt>
    <dgm:pt modelId="{05E5B975-F1EA-4835-AD43-4CD68C174C3C}" type="sibTrans" cxnId="{C5E9FB64-E800-47B8-8FA7-FA4883D6C27D}">
      <dgm:prSet/>
      <dgm:spPr/>
      <dgm:t>
        <a:bodyPr/>
        <a:lstStyle/>
        <a:p>
          <a:endParaRPr lang="en-US"/>
        </a:p>
      </dgm:t>
    </dgm:pt>
    <dgm:pt modelId="{A04CBCBC-8828-4962-9FDB-81FB3E8A4D8E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r>
            <a:rPr lang="sr-Latn-ME" sz="1600" b="0" i="1" dirty="0">
              <a:solidFill>
                <a:schemeClr val="bg2"/>
              </a:solidFill>
            </a:rPr>
            <a:t>opreme za hidrološka-hidraulička mjerenja</a:t>
          </a:r>
          <a:endParaRPr lang="en-US" sz="1600" i="1" dirty="0"/>
        </a:p>
      </dgm:t>
    </dgm:pt>
    <dgm:pt modelId="{3BECE543-4A61-4D8A-98FF-F5143D04E050}" type="parTrans" cxnId="{D76DE125-B728-41EC-8B7C-A19C364948EA}">
      <dgm:prSet/>
      <dgm:spPr/>
      <dgm:t>
        <a:bodyPr/>
        <a:lstStyle/>
        <a:p>
          <a:endParaRPr lang="en-US"/>
        </a:p>
      </dgm:t>
    </dgm:pt>
    <dgm:pt modelId="{2CB818C1-81BC-4CB6-821F-6958820E3A36}" type="sibTrans" cxnId="{D76DE125-B728-41EC-8B7C-A19C364948EA}">
      <dgm:prSet/>
      <dgm:spPr/>
      <dgm:t>
        <a:bodyPr/>
        <a:lstStyle/>
        <a:p>
          <a:endParaRPr lang="en-US"/>
        </a:p>
      </dgm:t>
    </dgm:pt>
    <dgm:pt modelId="{F5BA09A8-0A95-416B-A15D-EAC8C37A7D99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r>
            <a:rPr lang="sr-Latn-ME" sz="1600" b="0" i="1" dirty="0">
              <a:solidFill>
                <a:schemeClr val="bg2"/>
              </a:solidFill>
            </a:rPr>
            <a:t>instalacija integrisanog informacionog sistema na nivou elektrane</a:t>
          </a:r>
          <a:endParaRPr lang="en-US" sz="1600" i="1" dirty="0"/>
        </a:p>
      </dgm:t>
    </dgm:pt>
    <dgm:pt modelId="{E56D40D9-B32F-4D92-8D49-26EE2111D2F8}" type="parTrans" cxnId="{9E824C3E-6E6F-45C0-BDA3-E15E3A7A541C}">
      <dgm:prSet/>
      <dgm:spPr/>
      <dgm:t>
        <a:bodyPr/>
        <a:lstStyle/>
        <a:p>
          <a:endParaRPr lang="en-US"/>
        </a:p>
      </dgm:t>
    </dgm:pt>
    <dgm:pt modelId="{15D4B1AA-D94F-4914-8BCF-50EDB989BD62}" type="sibTrans" cxnId="{9E824C3E-6E6F-45C0-BDA3-E15E3A7A541C}">
      <dgm:prSet/>
      <dgm:spPr/>
      <dgm:t>
        <a:bodyPr/>
        <a:lstStyle/>
        <a:p>
          <a:endParaRPr lang="en-US"/>
        </a:p>
      </dgm:t>
    </dgm:pt>
    <dgm:pt modelId="{98F16049-0B1D-47DD-956E-67AE0CD09A35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r>
            <a:rPr lang="sr-Latn-ME" sz="1600" b="0" i="1" dirty="0">
              <a:solidFill>
                <a:schemeClr val="bg2"/>
              </a:solidFill>
            </a:rPr>
            <a:t>rekonstrukcija i modernizacija objekata sistema</a:t>
          </a:r>
          <a:endParaRPr lang="en-US" sz="1600" i="1" dirty="0"/>
        </a:p>
      </dgm:t>
    </dgm:pt>
    <dgm:pt modelId="{370125DD-F27C-4DE3-9933-8E3D9562CDDE}" type="parTrans" cxnId="{704A5CAC-A1BC-4385-8030-616CCAEA510E}">
      <dgm:prSet/>
      <dgm:spPr/>
      <dgm:t>
        <a:bodyPr/>
        <a:lstStyle/>
        <a:p>
          <a:endParaRPr lang="en-US"/>
        </a:p>
      </dgm:t>
    </dgm:pt>
    <dgm:pt modelId="{C6FC00B0-DA18-4D06-85B1-1857C3354428}" type="sibTrans" cxnId="{704A5CAC-A1BC-4385-8030-616CCAEA510E}">
      <dgm:prSet/>
      <dgm:spPr/>
      <dgm:t>
        <a:bodyPr/>
        <a:lstStyle/>
        <a:p>
          <a:endParaRPr lang="en-US"/>
        </a:p>
      </dgm:t>
    </dgm:pt>
    <dgm:pt modelId="{DB22E07F-CA90-4300-A770-A08937E02294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pPr algn="just"/>
          <a:r>
            <a:rPr lang="sr-Latn-ME" sz="1600" b="0" dirty="0">
              <a:solidFill>
                <a:schemeClr val="tx2"/>
              </a:solidFill>
            </a:rPr>
            <a:t>Za potrebe finansiranja projekta</a:t>
          </a:r>
          <a:r>
            <a:rPr lang="en-US" sz="1600" b="0" dirty="0">
              <a:solidFill>
                <a:schemeClr val="tx2"/>
              </a:solidFill>
            </a:rPr>
            <a:t>, EPCG </a:t>
          </a:r>
          <a:r>
            <a:rPr lang="sr-Latn-ME" sz="1600" b="0" dirty="0">
              <a:solidFill>
                <a:schemeClr val="tx2"/>
              </a:solidFill>
            </a:rPr>
            <a:t>je potpisala 18.9.2019. kreditni ugovor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sa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noProof="0" dirty="0">
              <a:solidFill>
                <a:schemeClr val="tx2"/>
              </a:solidFill>
            </a:rPr>
            <a:t>KfW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b</a:t>
          </a:r>
          <a:r>
            <a:rPr lang="sr-Latn-ME" sz="1600" b="0" noProof="0" dirty="0">
              <a:solidFill>
                <a:schemeClr val="tx2"/>
              </a:solidFill>
            </a:rPr>
            <a:t>ank</a:t>
          </a:r>
          <a:r>
            <a:rPr lang="sr-Latn-ME" sz="1600" b="0" dirty="0">
              <a:solidFill>
                <a:schemeClr val="tx2"/>
              </a:solidFill>
            </a:rPr>
            <a:t>om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u iznosu od</a:t>
          </a:r>
          <a:r>
            <a:rPr lang="en-US" sz="1600" b="0" dirty="0">
              <a:solidFill>
                <a:schemeClr val="tx2"/>
              </a:solidFill>
            </a:rPr>
            <a:t> </a:t>
          </a:r>
          <a:r>
            <a:rPr lang="sr-Latn-ME" sz="1600" b="0" dirty="0">
              <a:solidFill>
                <a:schemeClr val="tx2"/>
              </a:solidFill>
            </a:rPr>
            <a:t>cca. </a:t>
          </a:r>
          <a:r>
            <a:rPr lang="en-US" sz="1600" b="0" dirty="0">
              <a:solidFill>
                <a:schemeClr val="tx2"/>
              </a:solidFill>
            </a:rPr>
            <a:t>€33</a:t>
          </a:r>
          <a:r>
            <a:rPr lang="sr-Latn-ME" sz="1600" b="0" dirty="0">
              <a:solidFill>
                <a:schemeClr val="tx2"/>
              </a:solidFill>
            </a:rPr>
            <a:t>M</a:t>
          </a:r>
          <a:endParaRPr lang="en-US" sz="1600" b="0" dirty="0">
            <a:solidFill>
              <a:schemeClr val="tx2"/>
            </a:solidFill>
          </a:endParaRPr>
        </a:p>
      </dgm:t>
    </dgm:pt>
    <dgm:pt modelId="{B6D1244D-C34F-4DD2-9EE3-F4BF44D2C4BB}" type="parTrans" cxnId="{7964148E-781C-4ECD-8A54-F7552BAB4CA2}">
      <dgm:prSet/>
      <dgm:spPr/>
      <dgm:t>
        <a:bodyPr/>
        <a:lstStyle/>
        <a:p>
          <a:endParaRPr lang="en-US"/>
        </a:p>
      </dgm:t>
    </dgm:pt>
    <dgm:pt modelId="{DE4DC7B4-D083-4C2C-8744-67260B852215}" type="sibTrans" cxnId="{7964148E-781C-4ECD-8A54-F7552BAB4CA2}">
      <dgm:prSet/>
      <dgm:spPr/>
      <dgm:t>
        <a:bodyPr/>
        <a:lstStyle/>
        <a:p>
          <a:endParaRPr lang="en-US"/>
        </a:p>
      </dgm:t>
    </dgm:pt>
    <dgm:pt modelId="{061C403F-747E-44F1-9163-D82D853A685A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r>
            <a:rPr lang="sr-Latn-ME" sz="1600" i="1" dirty="0"/>
            <a:t>nadvišenje i sanacija kanala Opačica i Moštanica</a:t>
          </a:r>
          <a:endParaRPr lang="en-US" sz="1600" i="1" dirty="0"/>
        </a:p>
      </dgm:t>
    </dgm:pt>
    <dgm:pt modelId="{33DDA819-9E79-4C4F-AE67-577B067CB9F8}" type="parTrans" cxnId="{74F9B31B-8114-4537-8E3A-B0B86938D6E6}">
      <dgm:prSet/>
      <dgm:spPr/>
      <dgm:t>
        <a:bodyPr/>
        <a:lstStyle/>
        <a:p>
          <a:endParaRPr lang="en-US"/>
        </a:p>
      </dgm:t>
    </dgm:pt>
    <dgm:pt modelId="{67396079-DEEC-480B-B44D-C1C030A1476B}" type="sibTrans" cxnId="{74F9B31B-8114-4537-8E3A-B0B86938D6E6}">
      <dgm:prSet/>
      <dgm:spPr/>
      <dgm:t>
        <a:bodyPr/>
        <a:lstStyle/>
        <a:p>
          <a:endParaRPr lang="en-US"/>
        </a:p>
      </dgm:t>
    </dgm:pt>
    <dgm:pt modelId="{A4535AF5-1988-4016-96EB-E9D24146CA56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endParaRPr lang="en-US" sz="1600" i="1" dirty="0"/>
        </a:p>
      </dgm:t>
    </dgm:pt>
    <dgm:pt modelId="{A5A1E3AD-B40F-43E1-99DF-7E449D8EBF0C}" type="parTrans" cxnId="{3A5D3AA9-9704-43BA-A3E6-B017F79D621F}">
      <dgm:prSet/>
      <dgm:spPr/>
      <dgm:t>
        <a:bodyPr/>
        <a:lstStyle/>
        <a:p>
          <a:endParaRPr lang="en-GB"/>
        </a:p>
      </dgm:t>
    </dgm:pt>
    <dgm:pt modelId="{2292D0A8-320D-43AE-8119-E61EB89DF2A4}" type="sibTrans" cxnId="{3A5D3AA9-9704-43BA-A3E6-B017F79D621F}">
      <dgm:prSet/>
      <dgm:spPr/>
      <dgm:t>
        <a:bodyPr/>
        <a:lstStyle/>
        <a:p>
          <a:endParaRPr lang="en-GB"/>
        </a:p>
      </dgm:t>
    </dgm:pt>
    <dgm:pt modelId="{8FAF82FA-0EBB-4D58-9F75-9E314FF2B67B}" type="pres">
      <dgm:prSet presAssocID="{B50C5895-CDAB-4C4B-8956-7C7150EBDEF3}" presName="linear" presStyleCnt="0">
        <dgm:presLayoutVars>
          <dgm:animLvl val="lvl"/>
          <dgm:resizeHandles val="exact"/>
        </dgm:presLayoutVars>
      </dgm:prSet>
      <dgm:spPr/>
    </dgm:pt>
    <dgm:pt modelId="{39961DC5-A732-4F4A-89D3-26E1E94870CC}" type="pres">
      <dgm:prSet presAssocID="{6AE8FC1A-7EC3-41DB-851C-8A81F3F9D27E}" presName="parentText" presStyleLbl="node1" presStyleIdx="0" presStyleCnt="2" custScaleX="100000" custScaleY="159031" custLinFactNeighborX="-1069" custLinFactNeighborY="1833">
        <dgm:presLayoutVars>
          <dgm:chMax val="0"/>
          <dgm:bulletEnabled val="1"/>
        </dgm:presLayoutVars>
      </dgm:prSet>
      <dgm:spPr/>
    </dgm:pt>
    <dgm:pt modelId="{85BFFC5E-2C47-4727-9C3A-5A9D154118E0}" type="pres">
      <dgm:prSet presAssocID="{6AE8FC1A-7EC3-41DB-851C-8A81F3F9D27E}" presName="childText" presStyleLbl="revTx" presStyleIdx="0" presStyleCnt="1">
        <dgm:presLayoutVars>
          <dgm:bulletEnabled val="1"/>
        </dgm:presLayoutVars>
      </dgm:prSet>
      <dgm:spPr/>
    </dgm:pt>
    <dgm:pt modelId="{5970BAFD-C4BA-4EC3-B410-481F545E8D0A}" type="pres">
      <dgm:prSet presAssocID="{DB22E07F-CA90-4300-A770-A08937E02294}" presName="parentText" presStyleLbl="node1" presStyleIdx="1" presStyleCnt="2" custScaleX="100000" custScaleY="103535" custLinFactNeighborX="0" custLinFactNeighborY="-6809">
        <dgm:presLayoutVars>
          <dgm:chMax val="0"/>
          <dgm:bulletEnabled val="1"/>
        </dgm:presLayoutVars>
      </dgm:prSet>
      <dgm:spPr/>
    </dgm:pt>
  </dgm:ptLst>
  <dgm:cxnLst>
    <dgm:cxn modelId="{36F76303-736B-42B7-B629-6FDC54056044}" type="presOf" srcId="{470864B1-0E7C-42C5-BE9F-933139DF5A74}" destId="{85BFFC5E-2C47-4727-9C3A-5A9D154118E0}" srcOrd="0" destOrd="6" presId="urn:microsoft.com/office/officeart/2005/8/layout/vList2"/>
    <dgm:cxn modelId="{361A6906-D2A3-47FE-93DF-57868BDC27E9}" type="presOf" srcId="{A04CBCBC-8828-4962-9FDB-81FB3E8A4D8E}" destId="{85BFFC5E-2C47-4727-9C3A-5A9D154118E0}" srcOrd="0" destOrd="2" presId="urn:microsoft.com/office/officeart/2005/8/layout/vList2"/>
    <dgm:cxn modelId="{5B04630C-3441-4F59-A2B5-A2EA8120BE78}" type="presOf" srcId="{061C403F-747E-44F1-9163-D82D853A685A}" destId="{85BFFC5E-2C47-4727-9C3A-5A9D154118E0}" srcOrd="0" destOrd="3" presId="urn:microsoft.com/office/officeart/2005/8/layout/vList2"/>
    <dgm:cxn modelId="{4143CF17-967B-468E-8F57-63F1F601F44D}" type="presOf" srcId="{B50C5895-CDAB-4C4B-8956-7C7150EBDEF3}" destId="{8FAF82FA-0EBB-4D58-9F75-9E314FF2B67B}" srcOrd="0" destOrd="0" presId="urn:microsoft.com/office/officeart/2005/8/layout/vList2"/>
    <dgm:cxn modelId="{58BFCF17-1F9A-4B2E-BF1B-040B5BAA75B6}" type="presOf" srcId="{98F16049-0B1D-47DD-956E-67AE0CD09A35}" destId="{85BFFC5E-2C47-4727-9C3A-5A9D154118E0}" srcOrd="0" destOrd="5" presId="urn:microsoft.com/office/officeart/2005/8/layout/vList2"/>
    <dgm:cxn modelId="{74F9B31B-8114-4537-8E3A-B0B86938D6E6}" srcId="{6AE8FC1A-7EC3-41DB-851C-8A81F3F9D27E}" destId="{061C403F-747E-44F1-9163-D82D853A685A}" srcOrd="3" destOrd="0" parTransId="{33DDA819-9E79-4C4F-AE67-577B067CB9F8}" sibTransId="{67396079-DEEC-480B-B44D-C1C030A1476B}"/>
    <dgm:cxn modelId="{D76DE125-B728-41EC-8B7C-A19C364948EA}" srcId="{6AE8FC1A-7EC3-41DB-851C-8A81F3F9D27E}" destId="{A04CBCBC-8828-4962-9FDB-81FB3E8A4D8E}" srcOrd="2" destOrd="0" parTransId="{3BECE543-4A61-4D8A-98FF-F5143D04E050}" sibTransId="{2CB818C1-81BC-4CB6-821F-6958820E3A36}"/>
    <dgm:cxn modelId="{5142EF33-EE7A-4159-8149-9C71409BD4F7}" type="presOf" srcId="{69DAF379-AB84-4197-B8EF-F66CE5BC4BC6}" destId="{85BFFC5E-2C47-4727-9C3A-5A9D154118E0}" srcOrd="0" destOrd="1" presId="urn:microsoft.com/office/officeart/2005/8/layout/vList2"/>
    <dgm:cxn modelId="{9E824C3E-6E6F-45C0-BDA3-E15E3A7A541C}" srcId="{6AE8FC1A-7EC3-41DB-851C-8A81F3F9D27E}" destId="{F5BA09A8-0A95-416B-A15D-EAC8C37A7D99}" srcOrd="4" destOrd="0" parTransId="{E56D40D9-B32F-4D92-8D49-26EE2111D2F8}" sibTransId="{15D4B1AA-D94F-4914-8BCF-50EDB989BD62}"/>
    <dgm:cxn modelId="{C5E9FB64-E800-47B8-8FA7-FA4883D6C27D}" srcId="{6AE8FC1A-7EC3-41DB-851C-8A81F3F9D27E}" destId="{470864B1-0E7C-42C5-BE9F-933139DF5A74}" srcOrd="6" destOrd="0" parTransId="{15DB7DB7-4088-4438-967B-C1C6C75368A9}" sibTransId="{05E5B975-F1EA-4835-AD43-4CD68C174C3C}"/>
    <dgm:cxn modelId="{71C3E47E-E710-4C38-B69C-936D6BE18C02}" type="presOf" srcId="{F5BA09A8-0A95-416B-A15D-EAC8C37A7D99}" destId="{85BFFC5E-2C47-4727-9C3A-5A9D154118E0}" srcOrd="0" destOrd="4" presId="urn:microsoft.com/office/officeart/2005/8/layout/vList2"/>
    <dgm:cxn modelId="{8B20DD84-AF51-478B-9664-13E97A299474}" type="presOf" srcId="{DB22E07F-CA90-4300-A770-A08937E02294}" destId="{5970BAFD-C4BA-4EC3-B410-481F545E8D0A}" srcOrd="0" destOrd="0" presId="urn:microsoft.com/office/officeart/2005/8/layout/vList2"/>
    <dgm:cxn modelId="{7964148E-781C-4ECD-8A54-F7552BAB4CA2}" srcId="{B50C5895-CDAB-4C4B-8956-7C7150EBDEF3}" destId="{DB22E07F-CA90-4300-A770-A08937E02294}" srcOrd="1" destOrd="0" parTransId="{B6D1244D-C34F-4DD2-9EE3-F4BF44D2C4BB}" sibTransId="{DE4DC7B4-D083-4C2C-8744-67260B852215}"/>
    <dgm:cxn modelId="{3A5D3AA9-9704-43BA-A3E6-B017F79D621F}" srcId="{6AE8FC1A-7EC3-41DB-851C-8A81F3F9D27E}" destId="{A4535AF5-1988-4016-96EB-E9D24146CA56}" srcOrd="0" destOrd="0" parTransId="{A5A1E3AD-B40F-43E1-99DF-7E449D8EBF0C}" sibTransId="{2292D0A8-320D-43AE-8119-E61EB89DF2A4}"/>
    <dgm:cxn modelId="{704A5CAC-A1BC-4385-8030-616CCAEA510E}" srcId="{6AE8FC1A-7EC3-41DB-851C-8A81F3F9D27E}" destId="{98F16049-0B1D-47DD-956E-67AE0CD09A35}" srcOrd="5" destOrd="0" parTransId="{370125DD-F27C-4DE3-9933-8E3D9562CDDE}" sibTransId="{C6FC00B0-DA18-4D06-85B1-1857C3354428}"/>
    <dgm:cxn modelId="{906A4EB1-9292-4566-9C3B-A64E39109266}" srcId="{6AE8FC1A-7EC3-41DB-851C-8A81F3F9D27E}" destId="{69DAF379-AB84-4197-B8EF-F66CE5BC4BC6}" srcOrd="1" destOrd="0" parTransId="{07DB128C-C851-46C6-8059-DAEB00274423}" sibTransId="{2D373EAC-BAFD-4F61-A272-88BD577D4A62}"/>
    <dgm:cxn modelId="{021334BD-971B-45FD-8820-26D3F3A472F9}" srcId="{B50C5895-CDAB-4C4B-8956-7C7150EBDEF3}" destId="{6AE8FC1A-7EC3-41DB-851C-8A81F3F9D27E}" srcOrd="0" destOrd="0" parTransId="{62EA19B6-BD9C-441F-AD36-22C94E5D2B69}" sibTransId="{52AE790D-7C32-474F-B805-B40C9C07562A}"/>
    <dgm:cxn modelId="{6602D8C3-8C08-44DE-BC3A-65E94096EEBC}" type="presOf" srcId="{6AE8FC1A-7EC3-41DB-851C-8A81F3F9D27E}" destId="{39961DC5-A732-4F4A-89D3-26E1E94870CC}" srcOrd="0" destOrd="0" presId="urn:microsoft.com/office/officeart/2005/8/layout/vList2"/>
    <dgm:cxn modelId="{7021BFE4-A6C7-4338-9EA7-49B57813F9E2}" type="presOf" srcId="{A4535AF5-1988-4016-96EB-E9D24146CA56}" destId="{85BFFC5E-2C47-4727-9C3A-5A9D154118E0}" srcOrd="0" destOrd="0" presId="urn:microsoft.com/office/officeart/2005/8/layout/vList2"/>
    <dgm:cxn modelId="{F3053CF4-226B-4E33-ADC9-C518F0FF6C91}" type="presParOf" srcId="{8FAF82FA-0EBB-4D58-9F75-9E314FF2B67B}" destId="{39961DC5-A732-4F4A-89D3-26E1E94870CC}" srcOrd="0" destOrd="0" presId="urn:microsoft.com/office/officeart/2005/8/layout/vList2"/>
    <dgm:cxn modelId="{DA45C88B-E241-43D1-87DA-60F581035617}" type="presParOf" srcId="{8FAF82FA-0EBB-4D58-9F75-9E314FF2B67B}" destId="{85BFFC5E-2C47-4727-9C3A-5A9D154118E0}" srcOrd="1" destOrd="0" presId="urn:microsoft.com/office/officeart/2005/8/layout/vList2"/>
    <dgm:cxn modelId="{CA1727E4-9007-4EE7-9392-767F28E555AB}" type="presParOf" srcId="{8FAF82FA-0EBB-4D58-9F75-9E314FF2B67B}" destId="{5970BAFD-C4BA-4EC3-B410-481F545E8D0A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50C5895-CDAB-4C4B-8956-7C7150EBDEF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AE8FC1A-7EC3-41DB-851C-8A81F3F9D27E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>
          <a:outerShdw blurRad="57785" dist="33020" dir="318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gm:spPr>
      <dgm:t>
        <a:bodyPr/>
        <a:lstStyle/>
        <a:p>
          <a:r>
            <a:rPr lang="sr-Latn-ME" sz="2400" b="0" dirty="0">
              <a:solidFill>
                <a:schemeClr val="tx2"/>
              </a:solidFill>
            </a:rPr>
            <a:t>58.5 MW</a:t>
          </a:r>
          <a:endParaRPr lang="en-US" sz="2400" b="0" dirty="0">
            <a:solidFill>
              <a:schemeClr val="tx2"/>
            </a:solidFill>
          </a:endParaRPr>
        </a:p>
      </dgm:t>
    </dgm:pt>
    <dgm:pt modelId="{62EA19B6-BD9C-441F-AD36-22C94E5D2B69}" type="parTrans" cxnId="{021334BD-971B-45FD-8820-26D3F3A472F9}">
      <dgm:prSet/>
      <dgm:spPr/>
      <dgm:t>
        <a:bodyPr/>
        <a:lstStyle/>
        <a:p>
          <a:endParaRPr lang="en-US"/>
        </a:p>
      </dgm:t>
    </dgm:pt>
    <dgm:pt modelId="{52AE790D-7C32-474F-B805-B40C9C07562A}" type="sibTrans" cxnId="{021334BD-971B-45FD-8820-26D3F3A472F9}">
      <dgm:prSet/>
      <dgm:spPr/>
      <dgm:t>
        <a:bodyPr/>
        <a:lstStyle/>
        <a:p>
          <a:endParaRPr lang="en-US"/>
        </a:p>
      </dgm:t>
    </dgm:pt>
    <dgm:pt modelId="{69DAF379-AB84-4197-B8EF-F66CE5BC4BC6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r>
            <a:rPr lang="sr-Latn-ME" sz="1600" b="0" i="1" dirty="0">
              <a:solidFill>
                <a:schemeClr val="bg2"/>
              </a:solidFill>
            </a:rPr>
            <a:t>Ugradnja osmog agregata A8 - Povećanje ukupne instalisane snage HE Perućica sa </a:t>
          </a:r>
          <a:r>
            <a:rPr lang="en-US" sz="1600" b="0" i="1" dirty="0">
              <a:solidFill>
                <a:schemeClr val="bg2"/>
              </a:solidFill>
            </a:rPr>
            <a:t>307 MW </a:t>
          </a:r>
          <a:r>
            <a:rPr lang="sr-Latn-ME" sz="1600" b="0" i="1" dirty="0">
              <a:solidFill>
                <a:schemeClr val="bg2"/>
              </a:solidFill>
            </a:rPr>
            <a:t>na</a:t>
          </a:r>
          <a:r>
            <a:rPr lang="en-US" sz="1600" b="0" i="1" dirty="0">
              <a:solidFill>
                <a:schemeClr val="bg2"/>
              </a:solidFill>
            </a:rPr>
            <a:t> 365.5 MW </a:t>
          </a:r>
        </a:p>
      </dgm:t>
    </dgm:pt>
    <dgm:pt modelId="{07DB128C-C851-46C6-8059-DAEB00274423}" type="parTrans" cxnId="{906A4EB1-9292-4566-9C3B-A64E39109266}">
      <dgm:prSet/>
      <dgm:spPr/>
      <dgm:t>
        <a:bodyPr/>
        <a:lstStyle/>
        <a:p>
          <a:endParaRPr lang="en-US"/>
        </a:p>
      </dgm:t>
    </dgm:pt>
    <dgm:pt modelId="{2D373EAC-BAFD-4F61-A272-88BD577D4A62}" type="sibTrans" cxnId="{906A4EB1-9292-4566-9C3B-A64E39109266}">
      <dgm:prSet/>
      <dgm:spPr/>
      <dgm:t>
        <a:bodyPr/>
        <a:lstStyle/>
        <a:p>
          <a:endParaRPr lang="en-US"/>
        </a:p>
      </dgm:t>
    </dgm:pt>
    <dgm:pt modelId="{E62916E2-B133-47E1-9DDD-619A8CEFC406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>
          <a:outerShdw blurRad="57785" dist="33020" dir="318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gm:spPr>
      <dgm:t>
        <a:bodyPr/>
        <a:lstStyle/>
        <a:p>
          <a:r>
            <a:rPr lang="sr-Latn-ME" sz="1800" b="0" dirty="0">
              <a:solidFill>
                <a:schemeClr val="tx2"/>
              </a:solidFill>
            </a:rPr>
            <a:t>Vrijednost ukupne investicije cca. €2</a:t>
          </a:r>
          <a:r>
            <a:rPr lang="en-US" sz="1800" b="0" dirty="0">
              <a:solidFill>
                <a:schemeClr val="tx2"/>
              </a:solidFill>
            </a:rPr>
            <a:t>4</a:t>
          </a:r>
          <a:r>
            <a:rPr lang="sr-Latn-ME" sz="1800" b="0" dirty="0">
              <a:solidFill>
                <a:schemeClr val="tx2"/>
              </a:solidFill>
            </a:rPr>
            <a:t>M</a:t>
          </a:r>
          <a:endParaRPr lang="en-US" sz="1800" dirty="0">
            <a:solidFill>
              <a:schemeClr val="tx2"/>
            </a:solidFill>
          </a:endParaRPr>
        </a:p>
      </dgm:t>
    </dgm:pt>
    <dgm:pt modelId="{7BFC8B2E-D3D9-4994-8E1F-A9B2F913F217}" type="parTrans" cxnId="{176B8E43-8856-40A3-BDDF-E1060FDDFC6B}">
      <dgm:prSet/>
      <dgm:spPr/>
      <dgm:t>
        <a:bodyPr/>
        <a:lstStyle/>
        <a:p>
          <a:endParaRPr lang="en-US"/>
        </a:p>
      </dgm:t>
    </dgm:pt>
    <dgm:pt modelId="{773CD26D-4783-45CC-BF49-C535761B643A}" type="sibTrans" cxnId="{176B8E43-8856-40A3-BDDF-E1060FDDFC6B}">
      <dgm:prSet/>
      <dgm:spPr/>
      <dgm:t>
        <a:bodyPr/>
        <a:lstStyle/>
        <a:p>
          <a:endParaRPr lang="en-US"/>
        </a:p>
      </dgm:t>
    </dgm:pt>
    <dgm:pt modelId="{C6AF20E3-F731-48A0-8E85-C204DB7C128B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r>
            <a:rPr lang="sr-Latn-ME" sz="1600" b="0" i="1" dirty="0">
              <a:solidFill>
                <a:schemeClr val="bg2"/>
              </a:solidFill>
            </a:rPr>
            <a:t>Dobijena indikativna ponuda od strane KfW banke</a:t>
          </a:r>
          <a:endParaRPr lang="en-US" sz="1600" b="0" i="1" dirty="0">
            <a:solidFill>
              <a:schemeClr val="bg2"/>
            </a:solidFill>
          </a:endParaRPr>
        </a:p>
      </dgm:t>
    </dgm:pt>
    <dgm:pt modelId="{C126A450-9AF6-4DE3-A56F-94A663C601A8}" type="parTrans" cxnId="{E6CA9A20-9866-4384-A440-6A5B02D89D1D}">
      <dgm:prSet/>
      <dgm:spPr/>
      <dgm:t>
        <a:bodyPr/>
        <a:lstStyle/>
        <a:p>
          <a:endParaRPr lang="en-US"/>
        </a:p>
      </dgm:t>
    </dgm:pt>
    <dgm:pt modelId="{9ACA52C5-D0CD-4B21-B6DA-870A44B9E99E}" type="sibTrans" cxnId="{E6CA9A20-9866-4384-A440-6A5B02D89D1D}">
      <dgm:prSet/>
      <dgm:spPr/>
      <dgm:t>
        <a:bodyPr/>
        <a:lstStyle/>
        <a:p>
          <a:endParaRPr lang="en-US"/>
        </a:p>
      </dgm:t>
    </dgm:pt>
    <dgm:pt modelId="{EED8ED28-3AB5-46A8-A625-447662C782FD}">
      <dgm:prSet phldrT="[Text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endParaRPr lang="en-US" sz="1600" b="0" i="1" dirty="0">
            <a:solidFill>
              <a:schemeClr val="bg2"/>
            </a:solidFill>
          </a:endParaRPr>
        </a:p>
      </dgm:t>
    </dgm:pt>
    <dgm:pt modelId="{93A4F7F0-47D9-499F-AD31-14D761DDC82C}" type="parTrans" cxnId="{8A7B697F-1A0B-4FDF-8537-FE1E167DDE0A}">
      <dgm:prSet/>
      <dgm:spPr/>
      <dgm:t>
        <a:bodyPr/>
        <a:lstStyle/>
        <a:p>
          <a:endParaRPr lang="en-GB"/>
        </a:p>
      </dgm:t>
    </dgm:pt>
    <dgm:pt modelId="{8277B830-2D2E-49C2-9A4F-93F618FFF98B}" type="sibTrans" cxnId="{8A7B697F-1A0B-4FDF-8537-FE1E167DDE0A}">
      <dgm:prSet/>
      <dgm:spPr/>
      <dgm:t>
        <a:bodyPr/>
        <a:lstStyle/>
        <a:p>
          <a:endParaRPr lang="en-GB"/>
        </a:p>
      </dgm:t>
    </dgm:pt>
    <dgm:pt modelId="{8FAF82FA-0EBB-4D58-9F75-9E314FF2B67B}" type="pres">
      <dgm:prSet presAssocID="{B50C5895-CDAB-4C4B-8956-7C7150EBDEF3}" presName="linear" presStyleCnt="0">
        <dgm:presLayoutVars>
          <dgm:animLvl val="lvl"/>
          <dgm:resizeHandles val="exact"/>
        </dgm:presLayoutVars>
      </dgm:prSet>
      <dgm:spPr/>
    </dgm:pt>
    <dgm:pt modelId="{39961DC5-A732-4F4A-89D3-26E1E94870CC}" type="pres">
      <dgm:prSet presAssocID="{6AE8FC1A-7EC3-41DB-851C-8A81F3F9D27E}" presName="parentText" presStyleLbl="node1" presStyleIdx="0" presStyleCnt="2" custScaleX="34409" custScaleY="115817">
        <dgm:presLayoutVars>
          <dgm:chMax val="0"/>
          <dgm:bulletEnabled val="1"/>
        </dgm:presLayoutVars>
      </dgm:prSet>
      <dgm:spPr/>
    </dgm:pt>
    <dgm:pt modelId="{85BFFC5E-2C47-4727-9C3A-5A9D154118E0}" type="pres">
      <dgm:prSet presAssocID="{6AE8FC1A-7EC3-41DB-851C-8A81F3F9D27E}" presName="childText" presStyleLbl="revTx" presStyleIdx="0" presStyleCnt="2">
        <dgm:presLayoutVars>
          <dgm:bulletEnabled val="1"/>
        </dgm:presLayoutVars>
      </dgm:prSet>
      <dgm:spPr/>
    </dgm:pt>
    <dgm:pt modelId="{633920E7-22DC-406B-ADA2-6F3B0346F141}" type="pres">
      <dgm:prSet presAssocID="{E62916E2-B133-47E1-9DDD-619A8CEFC406}" presName="parentText" presStyleLbl="node1" presStyleIdx="1" presStyleCnt="2" custScaleX="90015" custScaleY="141751" custLinFactNeighborX="647" custLinFactNeighborY="2868">
        <dgm:presLayoutVars>
          <dgm:chMax val="0"/>
          <dgm:bulletEnabled val="1"/>
        </dgm:presLayoutVars>
      </dgm:prSet>
      <dgm:spPr/>
    </dgm:pt>
    <dgm:pt modelId="{54C1F404-D3C6-4F9F-AB63-888000E7C991}" type="pres">
      <dgm:prSet presAssocID="{E62916E2-B133-47E1-9DDD-619A8CEFC406}" presName="childText" presStyleLbl="revTx" presStyleIdx="1" presStyleCnt="2" custScaleY="106049" custLinFactNeighborY="3999">
        <dgm:presLayoutVars>
          <dgm:bulletEnabled val="1"/>
        </dgm:presLayoutVars>
      </dgm:prSet>
      <dgm:spPr/>
    </dgm:pt>
  </dgm:ptLst>
  <dgm:cxnLst>
    <dgm:cxn modelId="{C20F1819-EC2E-49C8-8C34-31BECFC0BE30}" type="presOf" srcId="{EED8ED28-3AB5-46A8-A625-447662C782FD}" destId="{54C1F404-D3C6-4F9F-AB63-888000E7C991}" srcOrd="0" destOrd="0" presId="urn:microsoft.com/office/officeart/2005/8/layout/vList2"/>
    <dgm:cxn modelId="{E6CA9A20-9866-4384-A440-6A5B02D89D1D}" srcId="{E62916E2-B133-47E1-9DDD-619A8CEFC406}" destId="{C6AF20E3-F731-48A0-8E85-C204DB7C128B}" srcOrd="1" destOrd="0" parTransId="{C126A450-9AF6-4DE3-A56F-94A663C601A8}" sibTransId="{9ACA52C5-D0CD-4B21-B6DA-870A44B9E99E}"/>
    <dgm:cxn modelId="{CA6A572B-046C-4CCD-A04E-3F5D2BC41E69}" type="presOf" srcId="{C6AF20E3-F731-48A0-8E85-C204DB7C128B}" destId="{54C1F404-D3C6-4F9F-AB63-888000E7C991}" srcOrd="0" destOrd="1" presId="urn:microsoft.com/office/officeart/2005/8/layout/vList2"/>
    <dgm:cxn modelId="{176B8E43-8856-40A3-BDDF-E1060FDDFC6B}" srcId="{B50C5895-CDAB-4C4B-8956-7C7150EBDEF3}" destId="{E62916E2-B133-47E1-9DDD-619A8CEFC406}" srcOrd="1" destOrd="0" parTransId="{7BFC8B2E-D3D9-4994-8E1F-A9B2F913F217}" sibTransId="{773CD26D-4783-45CC-BF49-C535761B643A}"/>
    <dgm:cxn modelId="{42203368-147D-4BC1-9E8B-1430D26DE9DE}" type="presOf" srcId="{E62916E2-B133-47E1-9DDD-619A8CEFC406}" destId="{633920E7-22DC-406B-ADA2-6F3B0346F141}" srcOrd="0" destOrd="0" presId="urn:microsoft.com/office/officeart/2005/8/layout/vList2"/>
    <dgm:cxn modelId="{8A7B697F-1A0B-4FDF-8537-FE1E167DDE0A}" srcId="{E62916E2-B133-47E1-9DDD-619A8CEFC406}" destId="{EED8ED28-3AB5-46A8-A625-447662C782FD}" srcOrd="0" destOrd="0" parTransId="{93A4F7F0-47D9-499F-AD31-14D761DDC82C}" sibTransId="{8277B830-2D2E-49C2-9A4F-93F618FFF98B}"/>
    <dgm:cxn modelId="{7BFBD7AB-E969-4A33-8E56-E0FEA5DA3545}" type="presOf" srcId="{69DAF379-AB84-4197-B8EF-F66CE5BC4BC6}" destId="{85BFFC5E-2C47-4727-9C3A-5A9D154118E0}" srcOrd="0" destOrd="0" presId="urn:microsoft.com/office/officeart/2005/8/layout/vList2"/>
    <dgm:cxn modelId="{906A4EB1-9292-4566-9C3B-A64E39109266}" srcId="{6AE8FC1A-7EC3-41DB-851C-8A81F3F9D27E}" destId="{69DAF379-AB84-4197-B8EF-F66CE5BC4BC6}" srcOrd="0" destOrd="0" parTransId="{07DB128C-C851-46C6-8059-DAEB00274423}" sibTransId="{2D373EAC-BAFD-4F61-A272-88BD577D4A62}"/>
    <dgm:cxn modelId="{021334BD-971B-45FD-8820-26D3F3A472F9}" srcId="{B50C5895-CDAB-4C4B-8956-7C7150EBDEF3}" destId="{6AE8FC1A-7EC3-41DB-851C-8A81F3F9D27E}" srcOrd="0" destOrd="0" parTransId="{62EA19B6-BD9C-441F-AD36-22C94E5D2B69}" sibTransId="{52AE790D-7C32-474F-B805-B40C9C07562A}"/>
    <dgm:cxn modelId="{8DDCC8DB-49A7-4222-B0D6-10E1626844A0}" type="presOf" srcId="{6AE8FC1A-7EC3-41DB-851C-8A81F3F9D27E}" destId="{39961DC5-A732-4F4A-89D3-26E1E94870CC}" srcOrd="0" destOrd="0" presId="urn:microsoft.com/office/officeart/2005/8/layout/vList2"/>
    <dgm:cxn modelId="{593CF1DD-9D05-43AF-BA93-5CE4730D17BD}" type="presOf" srcId="{B50C5895-CDAB-4C4B-8956-7C7150EBDEF3}" destId="{8FAF82FA-0EBB-4D58-9F75-9E314FF2B67B}" srcOrd="0" destOrd="0" presId="urn:microsoft.com/office/officeart/2005/8/layout/vList2"/>
    <dgm:cxn modelId="{581AB51D-AB57-4874-95E2-232B981F6F1E}" type="presParOf" srcId="{8FAF82FA-0EBB-4D58-9F75-9E314FF2B67B}" destId="{39961DC5-A732-4F4A-89D3-26E1E94870CC}" srcOrd="0" destOrd="0" presId="urn:microsoft.com/office/officeart/2005/8/layout/vList2"/>
    <dgm:cxn modelId="{FBB548B0-6A84-4A0D-9FDE-19CCCEE7EE47}" type="presParOf" srcId="{8FAF82FA-0EBB-4D58-9F75-9E314FF2B67B}" destId="{85BFFC5E-2C47-4727-9C3A-5A9D154118E0}" srcOrd="1" destOrd="0" presId="urn:microsoft.com/office/officeart/2005/8/layout/vList2"/>
    <dgm:cxn modelId="{A94B0DBB-5C91-42EE-833C-2D61C97C5A38}" type="presParOf" srcId="{8FAF82FA-0EBB-4D58-9F75-9E314FF2B67B}" destId="{633920E7-22DC-406B-ADA2-6F3B0346F141}" srcOrd="2" destOrd="0" presId="urn:microsoft.com/office/officeart/2005/8/layout/vList2"/>
    <dgm:cxn modelId="{4F02F78B-4B3F-4BC6-AF54-F70FBD8A311C}" type="presParOf" srcId="{8FAF82FA-0EBB-4D58-9F75-9E314FF2B67B}" destId="{54C1F404-D3C6-4F9F-AB63-888000E7C991}" srcOrd="3" destOrd="0" presId="urn:microsoft.com/office/officeart/2005/8/layout/vList2"/>
  </dgm:cxnLst>
  <dgm:bg>
    <a:solidFill>
      <a:srgbClr val="8DB4E3"/>
    </a:solidFill>
  </dgm:bg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89B7B2A-0CDF-43DC-8703-A0FD37CE521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C49D1DE-75A0-4C20-9411-585083FF6C3A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>
          <a:outerShdw blurRad="57785" dist="33020" dir="318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gm:spPr>
      <dgm:t>
        <a:bodyPr/>
        <a:lstStyle/>
        <a:p>
          <a:r>
            <a:rPr lang="sr-Latn-ME" sz="1800" b="0" dirty="0">
              <a:solidFill>
                <a:schemeClr val="tx2"/>
              </a:solidFill>
            </a:rPr>
            <a:t>Vrijednost ukupne investicije cca. €61M</a:t>
          </a:r>
          <a:endParaRPr lang="en-US" sz="1800" dirty="0">
            <a:solidFill>
              <a:schemeClr val="tx2"/>
            </a:solidFill>
          </a:endParaRPr>
        </a:p>
      </dgm:t>
    </dgm:pt>
    <dgm:pt modelId="{094606F1-4809-40BB-830D-06D8B3A4845E}" type="parTrans" cxnId="{0B2149BE-DFD3-4C76-BD43-EA31EB953AA8}">
      <dgm:prSet/>
      <dgm:spPr/>
      <dgm:t>
        <a:bodyPr/>
        <a:lstStyle/>
        <a:p>
          <a:endParaRPr lang="en-US"/>
        </a:p>
      </dgm:t>
    </dgm:pt>
    <dgm:pt modelId="{93ACE674-4ADC-4706-A3B5-E103FD8554BE}" type="sibTrans" cxnId="{0B2149BE-DFD3-4C76-BD43-EA31EB953AA8}">
      <dgm:prSet/>
      <dgm:spPr/>
      <dgm:t>
        <a:bodyPr/>
        <a:lstStyle/>
        <a:p>
          <a:endParaRPr lang="en-US"/>
        </a:p>
      </dgm:t>
    </dgm:pt>
    <dgm:pt modelId="{64B810C3-2C89-449F-B1EC-1108ED5908DC}">
      <dgm:prSet phldrT="[Text]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>
          <a:outerShdw blurRad="57785" dist="33020" dir="318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gm:spPr>
      <dgm:t>
        <a:bodyPr/>
        <a:lstStyle/>
        <a:p>
          <a:r>
            <a:rPr lang="en-US" b="0" dirty="0">
              <a:solidFill>
                <a:schemeClr val="tx2"/>
              </a:solidFill>
            </a:rPr>
            <a:t>E</a:t>
          </a:r>
          <a:r>
            <a:rPr lang="sr-Latn-ME" b="0" dirty="0">
              <a:solidFill>
                <a:schemeClr val="tx2"/>
              </a:solidFill>
            </a:rPr>
            <a:t>BRD – Mandate letter</a:t>
          </a:r>
          <a:endParaRPr lang="en-US" dirty="0">
            <a:solidFill>
              <a:schemeClr val="tx2"/>
            </a:solidFill>
          </a:endParaRPr>
        </a:p>
      </dgm:t>
    </dgm:pt>
    <dgm:pt modelId="{156A05C8-3EAC-48E1-8FA8-EBB37AE93AD0}" type="parTrans" cxnId="{52D73888-670F-4EF5-9EB7-4D78D81BA74A}">
      <dgm:prSet/>
      <dgm:spPr/>
      <dgm:t>
        <a:bodyPr/>
        <a:lstStyle/>
        <a:p>
          <a:endParaRPr lang="en-US"/>
        </a:p>
      </dgm:t>
    </dgm:pt>
    <dgm:pt modelId="{4C65188D-7406-4756-976B-800751D2D099}" type="sibTrans" cxnId="{52D73888-670F-4EF5-9EB7-4D78D81BA74A}">
      <dgm:prSet/>
      <dgm:spPr/>
      <dgm:t>
        <a:bodyPr/>
        <a:lstStyle/>
        <a:p>
          <a:endParaRPr lang="en-US"/>
        </a:p>
      </dgm:t>
    </dgm:pt>
    <dgm:pt modelId="{144D46E5-5CEC-4F99-8594-06B14F6ED256}" type="pres">
      <dgm:prSet presAssocID="{D89B7B2A-0CDF-43DC-8703-A0FD37CE521E}" presName="linear" presStyleCnt="0">
        <dgm:presLayoutVars>
          <dgm:animLvl val="lvl"/>
          <dgm:resizeHandles val="exact"/>
        </dgm:presLayoutVars>
      </dgm:prSet>
      <dgm:spPr/>
    </dgm:pt>
    <dgm:pt modelId="{278CF7C7-447B-4A82-A950-49E1103C7027}" type="pres">
      <dgm:prSet presAssocID="{8C49D1DE-75A0-4C20-9411-585083FF6C3A}" presName="parentText" presStyleLbl="node1" presStyleIdx="0" presStyleCnt="2" custScaleX="100000" custScaleY="35510" custLinFactY="14806" custLinFactNeighborX="223" custLinFactNeighborY="100000">
        <dgm:presLayoutVars>
          <dgm:chMax val="0"/>
          <dgm:bulletEnabled val="1"/>
        </dgm:presLayoutVars>
      </dgm:prSet>
      <dgm:spPr/>
    </dgm:pt>
    <dgm:pt modelId="{9214B0E4-8B36-4856-893D-11C49062F5F9}" type="pres">
      <dgm:prSet presAssocID="{93ACE674-4ADC-4706-A3B5-E103FD8554BE}" presName="spacer" presStyleCnt="0"/>
      <dgm:spPr/>
    </dgm:pt>
    <dgm:pt modelId="{5FD7DC3A-F587-4E70-98E1-B14772C1EC5C}" type="pres">
      <dgm:prSet presAssocID="{64B810C3-2C89-449F-B1EC-1108ED5908DC}" presName="parentText" presStyleLbl="node1" presStyleIdx="1" presStyleCnt="2" custScaleX="100000" custScaleY="18092" custLinFactY="19368" custLinFactNeighborX="223" custLinFactNeighborY="100000">
        <dgm:presLayoutVars>
          <dgm:chMax val="0"/>
          <dgm:bulletEnabled val="1"/>
        </dgm:presLayoutVars>
      </dgm:prSet>
      <dgm:spPr/>
    </dgm:pt>
  </dgm:ptLst>
  <dgm:cxnLst>
    <dgm:cxn modelId="{D3910817-4CE2-4B5C-BDE2-A81118ADA181}" type="presOf" srcId="{8C49D1DE-75A0-4C20-9411-585083FF6C3A}" destId="{278CF7C7-447B-4A82-A950-49E1103C7027}" srcOrd="0" destOrd="0" presId="urn:microsoft.com/office/officeart/2005/8/layout/vList2"/>
    <dgm:cxn modelId="{05086525-EB9A-40DD-8868-8DCA516D3D82}" type="presOf" srcId="{64B810C3-2C89-449F-B1EC-1108ED5908DC}" destId="{5FD7DC3A-F587-4E70-98E1-B14772C1EC5C}" srcOrd="0" destOrd="0" presId="urn:microsoft.com/office/officeart/2005/8/layout/vList2"/>
    <dgm:cxn modelId="{52D73888-670F-4EF5-9EB7-4D78D81BA74A}" srcId="{D89B7B2A-0CDF-43DC-8703-A0FD37CE521E}" destId="{64B810C3-2C89-449F-B1EC-1108ED5908DC}" srcOrd="1" destOrd="0" parTransId="{156A05C8-3EAC-48E1-8FA8-EBB37AE93AD0}" sibTransId="{4C65188D-7406-4756-976B-800751D2D099}"/>
    <dgm:cxn modelId="{D8CC92AC-E544-4537-BD0F-432AE31CA085}" type="presOf" srcId="{D89B7B2A-0CDF-43DC-8703-A0FD37CE521E}" destId="{144D46E5-5CEC-4F99-8594-06B14F6ED256}" srcOrd="0" destOrd="0" presId="urn:microsoft.com/office/officeart/2005/8/layout/vList2"/>
    <dgm:cxn modelId="{0B2149BE-DFD3-4C76-BD43-EA31EB953AA8}" srcId="{D89B7B2A-0CDF-43DC-8703-A0FD37CE521E}" destId="{8C49D1DE-75A0-4C20-9411-585083FF6C3A}" srcOrd="0" destOrd="0" parTransId="{094606F1-4809-40BB-830D-06D8B3A4845E}" sibTransId="{93ACE674-4ADC-4706-A3B5-E103FD8554BE}"/>
    <dgm:cxn modelId="{6D9D2718-C9A5-4779-95FE-5D835879552D}" type="presParOf" srcId="{144D46E5-5CEC-4F99-8594-06B14F6ED256}" destId="{278CF7C7-447B-4A82-A950-49E1103C7027}" srcOrd="0" destOrd="0" presId="urn:microsoft.com/office/officeart/2005/8/layout/vList2"/>
    <dgm:cxn modelId="{DD9CF13D-DBCF-4052-8610-E2DC8ED6E8D7}" type="presParOf" srcId="{144D46E5-5CEC-4F99-8594-06B14F6ED256}" destId="{9214B0E4-8B36-4856-893D-11C49062F5F9}" srcOrd="1" destOrd="0" presId="urn:microsoft.com/office/officeart/2005/8/layout/vList2"/>
    <dgm:cxn modelId="{AC3AA228-06B6-4135-A527-A6C7778517B7}" type="presParOf" srcId="{144D46E5-5CEC-4F99-8594-06B14F6ED256}" destId="{5FD7DC3A-F587-4E70-98E1-B14772C1EC5C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C6C31BD-A5C1-440D-8D3E-EB6232985CD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15490D6-731A-4014-A620-85AA777B79F6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>
          <a:outerShdw blurRad="57785" dist="33020" dir="3180000" algn="ctr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gm:spPr>
      <dgm:t>
        <a:bodyPr/>
        <a:lstStyle/>
        <a:p>
          <a:r>
            <a:rPr lang="en-GB" sz="1800" b="0" dirty="0">
              <a:solidFill>
                <a:schemeClr val="tx2"/>
              </a:solidFill>
            </a:rPr>
            <a:t>13 </a:t>
          </a:r>
          <a:r>
            <a:rPr lang="sr-Latn-ME" sz="1800" b="0" dirty="0">
              <a:solidFill>
                <a:schemeClr val="tx2"/>
              </a:solidFill>
            </a:rPr>
            <a:t>vjetroturbina</a:t>
          </a:r>
          <a:r>
            <a:rPr lang="en-GB" sz="1800" b="0" dirty="0">
              <a:solidFill>
                <a:schemeClr val="tx2"/>
              </a:solidFill>
            </a:rPr>
            <a:t>, </a:t>
          </a:r>
          <a:r>
            <a:rPr lang="en-GB" sz="1800" dirty="0">
              <a:solidFill>
                <a:schemeClr val="tx2"/>
              </a:solidFill>
            </a:rPr>
            <a:t>54.6 MW</a:t>
          </a:r>
          <a:r>
            <a:rPr lang="sr-Latn-ME" sz="1800" dirty="0">
              <a:solidFill>
                <a:schemeClr val="tx2"/>
              </a:solidFill>
            </a:rPr>
            <a:t>,</a:t>
          </a:r>
          <a:r>
            <a:rPr lang="en-GB" sz="1800" b="0" dirty="0">
              <a:solidFill>
                <a:schemeClr val="tx2"/>
              </a:solidFill>
            </a:rPr>
            <a:t> </a:t>
          </a:r>
          <a:r>
            <a:rPr lang="en-GB" sz="1800" dirty="0">
              <a:solidFill>
                <a:schemeClr val="tx2"/>
              </a:solidFill>
            </a:rPr>
            <a:t>150 </a:t>
          </a:r>
          <a:r>
            <a:rPr lang="en-GB" sz="1800" dirty="0" err="1">
              <a:solidFill>
                <a:schemeClr val="tx2"/>
              </a:solidFill>
            </a:rPr>
            <a:t>GWh</a:t>
          </a:r>
          <a:r>
            <a:rPr lang="en-GB" sz="1800" dirty="0">
              <a:solidFill>
                <a:schemeClr val="tx2"/>
              </a:solidFill>
            </a:rPr>
            <a:t>/</a:t>
          </a:r>
          <a:r>
            <a:rPr lang="sr-Latn-ME" sz="1800" dirty="0">
              <a:solidFill>
                <a:schemeClr val="tx2"/>
              </a:solidFill>
            </a:rPr>
            <a:t>g</a:t>
          </a:r>
          <a:endParaRPr lang="en-US" sz="1800" dirty="0">
            <a:solidFill>
              <a:schemeClr val="tx2"/>
            </a:solidFill>
          </a:endParaRPr>
        </a:p>
      </dgm:t>
    </dgm:pt>
    <dgm:pt modelId="{120EE5B0-9570-4691-8CF3-69A1CD3F3A57}" type="parTrans" cxnId="{1F00617B-77F2-4617-A347-E824AA1410F4}">
      <dgm:prSet/>
      <dgm:spPr/>
      <dgm:t>
        <a:bodyPr/>
        <a:lstStyle/>
        <a:p>
          <a:endParaRPr lang="en-US"/>
        </a:p>
      </dgm:t>
    </dgm:pt>
    <dgm:pt modelId="{9B562FF8-538C-4A6D-8B50-43F668CFDB38}" type="sibTrans" cxnId="{1F00617B-77F2-4617-A347-E824AA1410F4}">
      <dgm:prSet/>
      <dgm:spPr/>
      <dgm:t>
        <a:bodyPr/>
        <a:lstStyle/>
        <a:p>
          <a:endParaRPr lang="en-US"/>
        </a:p>
      </dgm:t>
    </dgm:pt>
    <dgm:pt modelId="{7BBCAA49-AEFA-4CC6-BB5D-B26D5033C198}">
      <dgm:prSet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>
        <a:solidFill>
          <a:srgbClr val="FFFF00"/>
        </a:solidFill>
        <a:ln>
          <a:solidFill>
            <a:srgbClr val="FFFF00"/>
          </a:solidFill>
        </a:ln>
      </dgm:spPr>
      <dgm:t>
        <a:bodyPr/>
        <a:lstStyle/>
        <a:p>
          <a:pPr algn="just"/>
          <a:r>
            <a:rPr lang="sr-Latn-ME" sz="1600" b="0" i="1" dirty="0">
              <a:solidFill>
                <a:schemeClr val="bg2"/>
              </a:solidFill>
            </a:rPr>
            <a:t>uz </a:t>
          </a:r>
          <a:r>
            <a:rPr lang="vi-VN" sz="1600" b="0" i="1" dirty="0">
              <a:solidFill>
                <a:schemeClr val="bg2"/>
              </a:solidFill>
            </a:rPr>
            <a:t>izgradnj</a:t>
          </a:r>
          <a:r>
            <a:rPr lang="sr-Latn-ME" sz="1600" b="0" i="1" dirty="0">
              <a:solidFill>
                <a:schemeClr val="bg2"/>
              </a:solidFill>
            </a:rPr>
            <a:t>u</a:t>
          </a:r>
          <a:r>
            <a:rPr lang="vi-VN" sz="1600" b="0" i="1" dirty="0">
              <a:solidFill>
                <a:schemeClr val="bg2"/>
              </a:solidFill>
            </a:rPr>
            <a:t> tipsk</a:t>
          </a:r>
          <a:r>
            <a:rPr lang="sr-Latn-ME" sz="1600" b="0" i="1" dirty="0">
              <a:solidFill>
                <a:schemeClr val="bg2"/>
              </a:solidFill>
            </a:rPr>
            <a:t>ih</a:t>
          </a:r>
          <a:r>
            <a:rPr lang="vi-VN" sz="1600" b="0" i="1" dirty="0">
              <a:solidFill>
                <a:schemeClr val="bg2"/>
              </a:solidFill>
            </a:rPr>
            <a:t> platoa za montažu v</a:t>
          </a:r>
          <a:r>
            <a:rPr lang="sr-Latn-ME" sz="1600" b="0" i="1" dirty="0">
              <a:solidFill>
                <a:schemeClr val="bg2"/>
              </a:solidFill>
            </a:rPr>
            <a:t>j</a:t>
          </a:r>
          <a:r>
            <a:rPr lang="vi-VN" sz="1600" b="0" i="1" dirty="0">
              <a:solidFill>
                <a:schemeClr val="bg2"/>
              </a:solidFill>
            </a:rPr>
            <a:t>etroturbina i temelja na kojima će se postavljati stubovi v</a:t>
          </a:r>
          <a:r>
            <a:rPr lang="sr-Latn-ME" sz="1600" b="0" i="1" dirty="0">
              <a:solidFill>
                <a:schemeClr val="bg2"/>
              </a:solidFill>
            </a:rPr>
            <a:t>j</a:t>
          </a:r>
          <a:r>
            <a:rPr lang="vi-VN" sz="1600" b="0" i="1" dirty="0">
              <a:solidFill>
                <a:schemeClr val="bg2"/>
              </a:solidFill>
            </a:rPr>
            <a:t>etrogeneratora</a:t>
          </a:r>
          <a:endParaRPr lang="en-US" sz="1600" b="0" i="1" dirty="0">
            <a:solidFill>
              <a:schemeClr val="bg2"/>
            </a:solidFill>
          </a:endParaRPr>
        </a:p>
      </dgm:t>
    </dgm:pt>
    <dgm:pt modelId="{44E717BD-3D88-4275-9662-C7AFAFA5E1A6}" type="parTrans" cxnId="{EA3B6D60-D36F-413A-998F-C54F3B3F9D93}">
      <dgm:prSet/>
      <dgm:spPr/>
      <dgm:t>
        <a:bodyPr/>
        <a:lstStyle/>
        <a:p>
          <a:endParaRPr lang="en-US"/>
        </a:p>
      </dgm:t>
    </dgm:pt>
    <dgm:pt modelId="{90A95942-ACC2-4B9B-83D9-8FF67B3C571D}" type="sibTrans" cxnId="{EA3B6D60-D36F-413A-998F-C54F3B3F9D93}">
      <dgm:prSet/>
      <dgm:spPr/>
      <dgm:t>
        <a:bodyPr/>
        <a:lstStyle/>
        <a:p>
          <a:endParaRPr lang="en-US"/>
        </a:p>
      </dgm:t>
    </dgm:pt>
    <dgm:pt modelId="{8078593D-A586-491F-9E32-FB2A74971E94}" type="pres">
      <dgm:prSet presAssocID="{5C6C31BD-A5C1-440D-8D3E-EB6232985CD9}" presName="linear" presStyleCnt="0">
        <dgm:presLayoutVars>
          <dgm:dir/>
          <dgm:animLvl val="lvl"/>
          <dgm:resizeHandles val="exact"/>
        </dgm:presLayoutVars>
      </dgm:prSet>
      <dgm:spPr/>
    </dgm:pt>
    <dgm:pt modelId="{2397A95D-43F7-4651-8432-3BA97A012895}" type="pres">
      <dgm:prSet presAssocID="{A15490D6-731A-4014-A620-85AA777B79F6}" presName="parentLin" presStyleCnt="0"/>
      <dgm:spPr/>
    </dgm:pt>
    <dgm:pt modelId="{DFFDA973-7C9A-435A-BF47-92B5E2141FED}" type="pres">
      <dgm:prSet presAssocID="{A15490D6-731A-4014-A620-85AA777B79F6}" presName="parentLeftMargin" presStyleLbl="node1" presStyleIdx="0" presStyleCnt="1"/>
      <dgm:spPr/>
    </dgm:pt>
    <dgm:pt modelId="{2638C77D-1114-4EE4-A735-19B8CA96F71D}" type="pres">
      <dgm:prSet presAssocID="{A15490D6-731A-4014-A620-85AA777B79F6}" presName="parentText" presStyleLbl="node1" presStyleIdx="0" presStyleCnt="1" custScaleX="106277" custScaleY="48102" custLinFactNeighborX="79048" custLinFactNeighborY="-4140">
        <dgm:presLayoutVars>
          <dgm:chMax val="0"/>
          <dgm:bulletEnabled val="1"/>
        </dgm:presLayoutVars>
      </dgm:prSet>
      <dgm:spPr/>
    </dgm:pt>
    <dgm:pt modelId="{87ABC0A9-43B3-41AB-B5B4-8B577141EA04}" type="pres">
      <dgm:prSet presAssocID="{A15490D6-731A-4014-A620-85AA777B79F6}" presName="negativeSpace" presStyleCnt="0"/>
      <dgm:spPr/>
    </dgm:pt>
    <dgm:pt modelId="{D57C5C8D-82CC-4BA3-BE46-9FE972DD8664}" type="pres">
      <dgm:prSet presAssocID="{A15490D6-731A-4014-A620-85AA777B79F6}" presName="childText" presStyleLbl="conFgAcc1" presStyleIdx="0" presStyleCnt="1" custScaleX="86721" custScaleY="71373" custLinFactNeighborX="15305" custLinFactNeighborY="64533">
        <dgm:presLayoutVars>
          <dgm:bulletEnabled val="1"/>
        </dgm:presLayoutVars>
      </dgm:prSet>
      <dgm:spPr/>
    </dgm:pt>
  </dgm:ptLst>
  <dgm:cxnLst>
    <dgm:cxn modelId="{61957214-81C4-457B-AE26-A03A9871A75A}" type="presOf" srcId="{7BBCAA49-AEFA-4CC6-BB5D-B26D5033C198}" destId="{D57C5C8D-82CC-4BA3-BE46-9FE972DD8664}" srcOrd="0" destOrd="0" presId="urn:microsoft.com/office/officeart/2005/8/layout/list1"/>
    <dgm:cxn modelId="{50A00222-5896-4AC2-9F89-72386AD97B6F}" type="presOf" srcId="{A15490D6-731A-4014-A620-85AA777B79F6}" destId="{DFFDA973-7C9A-435A-BF47-92B5E2141FED}" srcOrd="0" destOrd="0" presId="urn:microsoft.com/office/officeart/2005/8/layout/list1"/>
    <dgm:cxn modelId="{EA3B6D60-D36F-413A-998F-C54F3B3F9D93}" srcId="{A15490D6-731A-4014-A620-85AA777B79F6}" destId="{7BBCAA49-AEFA-4CC6-BB5D-B26D5033C198}" srcOrd="0" destOrd="0" parTransId="{44E717BD-3D88-4275-9662-C7AFAFA5E1A6}" sibTransId="{90A95942-ACC2-4B9B-83D9-8FF67B3C571D}"/>
    <dgm:cxn modelId="{D294066F-D90E-442C-8C56-4523E83F24BD}" type="presOf" srcId="{5C6C31BD-A5C1-440D-8D3E-EB6232985CD9}" destId="{8078593D-A586-491F-9E32-FB2A74971E94}" srcOrd="0" destOrd="0" presId="urn:microsoft.com/office/officeart/2005/8/layout/list1"/>
    <dgm:cxn modelId="{1F00617B-77F2-4617-A347-E824AA1410F4}" srcId="{5C6C31BD-A5C1-440D-8D3E-EB6232985CD9}" destId="{A15490D6-731A-4014-A620-85AA777B79F6}" srcOrd="0" destOrd="0" parTransId="{120EE5B0-9570-4691-8CF3-69A1CD3F3A57}" sibTransId="{9B562FF8-538C-4A6D-8B50-43F668CFDB38}"/>
    <dgm:cxn modelId="{050D74A0-3383-4279-BF13-96699B8D1FC1}" type="presOf" srcId="{A15490D6-731A-4014-A620-85AA777B79F6}" destId="{2638C77D-1114-4EE4-A735-19B8CA96F71D}" srcOrd="1" destOrd="0" presId="urn:microsoft.com/office/officeart/2005/8/layout/list1"/>
    <dgm:cxn modelId="{19AE4599-C36A-4BE9-A2C4-7EE6891B0B97}" type="presParOf" srcId="{8078593D-A586-491F-9E32-FB2A74971E94}" destId="{2397A95D-43F7-4651-8432-3BA97A012895}" srcOrd="0" destOrd="0" presId="urn:microsoft.com/office/officeart/2005/8/layout/list1"/>
    <dgm:cxn modelId="{0EC8C7DA-A9EB-4612-818B-472F1333E349}" type="presParOf" srcId="{2397A95D-43F7-4651-8432-3BA97A012895}" destId="{DFFDA973-7C9A-435A-BF47-92B5E2141FED}" srcOrd="0" destOrd="0" presId="urn:microsoft.com/office/officeart/2005/8/layout/list1"/>
    <dgm:cxn modelId="{9996A4D7-3276-423D-BB5C-BE9B61E4131A}" type="presParOf" srcId="{2397A95D-43F7-4651-8432-3BA97A012895}" destId="{2638C77D-1114-4EE4-A735-19B8CA96F71D}" srcOrd="1" destOrd="0" presId="urn:microsoft.com/office/officeart/2005/8/layout/list1"/>
    <dgm:cxn modelId="{4ACEF0CE-DD87-4ED8-A082-16957B567648}" type="presParOf" srcId="{8078593D-A586-491F-9E32-FB2A74971E94}" destId="{87ABC0A9-43B3-41AB-B5B4-8B577141EA04}" srcOrd="1" destOrd="0" presId="urn:microsoft.com/office/officeart/2005/8/layout/list1"/>
    <dgm:cxn modelId="{21CA0DA7-628A-4808-8926-22AE7AD9E353}" type="presParOf" srcId="{8078593D-A586-491F-9E32-FB2A74971E94}" destId="{D57C5C8D-82CC-4BA3-BE46-9FE972DD8664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FD0A73D-A1B4-4326-B3A0-4F6822D5E105}" type="doc">
      <dgm:prSet loTypeId="urn:microsoft.com/office/officeart/2005/8/layout/chevron2" loCatId="process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1914FDA2-1B7E-47B0-AE11-DEE266D745B6}">
      <dgm:prSet phldrT="[Text]"/>
      <dgm:spPr>
        <a:solidFill>
          <a:srgbClr val="FFFF00">
            <a:alpha val="90000"/>
          </a:srgbClr>
        </a:solidFill>
        <a:ln>
          <a:solidFill>
            <a:srgbClr val="FFFF00"/>
          </a:solidFill>
        </a:ln>
      </dgm:spPr>
      <dgm:t>
        <a:bodyPr/>
        <a:lstStyle/>
        <a:p>
          <a:r>
            <a:rPr lang="sr-Latn-ME" dirty="0"/>
            <a:t>Ukupno 13 vjetroagregata uz izgradnju tipskih platoa za montažu vjetroagregata i temelja na koje će se postaviti stubovi vjetroagregata</a:t>
          </a:r>
          <a:endParaRPr lang="en-US" dirty="0"/>
        </a:p>
      </dgm:t>
    </dgm:pt>
    <dgm:pt modelId="{24EADB43-B43B-4B0B-9C8A-C030AF652A59}" type="parTrans" cxnId="{1659C044-5A65-4416-AE9B-648AC67A1C43}">
      <dgm:prSet/>
      <dgm:spPr/>
      <dgm:t>
        <a:bodyPr/>
        <a:lstStyle/>
        <a:p>
          <a:endParaRPr lang="en-US"/>
        </a:p>
      </dgm:t>
    </dgm:pt>
    <dgm:pt modelId="{32957DAA-3929-44ED-9C33-F190ADDAC0C6}" type="sibTrans" cxnId="{1659C044-5A65-4416-AE9B-648AC67A1C43}">
      <dgm:prSet/>
      <dgm:spPr/>
      <dgm:t>
        <a:bodyPr/>
        <a:lstStyle/>
        <a:p>
          <a:endParaRPr lang="en-US"/>
        </a:p>
      </dgm:t>
    </dgm:pt>
    <dgm:pt modelId="{DB7A0BF9-F365-4C92-A9CC-C3168F1A7813}">
      <dgm:prSet phldrT="[Text]"/>
      <dgm:spPr>
        <a:solidFill>
          <a:srgbClr val="FFFF00">
            <a:alpha val="90000"/>
          </a:srgbClr>
        </a:solidFill>
        <a:ln>
          <a:solidFill>
            <a:srgbClr val="FFFF00"/>
          </a:solidFill>
        </a:ln>
      </dgm:spPr>
      <dgm:t>
        <a:bodyPr/>
        <a:lstStyle/>
        <a:p>
          <a:r>
            <a:rPr lang="sr-Latn-ME" dirty="0"/>
            <a:t>Transformatorska stanica 110/33 kV Gvozd na projektnoj lokaciji</a:t>
          </a:r>
          <a:endParaRPr lang="en-US" dirty="0"/>
        </a:p>
      </dgm:t>
    </dgm:pt>
    <dgm:pt modelId="{B9AEFB6C-5B57-4888-B3BA-85D460CB4635}" type="parTrans" cxnId="{619F950C-EB4C-497E-80CB-1D1292CF8E58}">
      <dgm:prSet/>
      <dgm:spPr/>
      <dgm:t>
        <a:bodyPr/>
        <a:lstStyle/>
        <a:p>
          <a:endParaRPr lang="en-US"/>
        </a:p>
      </dgm:t>
    </dgm:pt>
    <dgm:pt modelId="{5F6D9AD0-663B-4A45-B0CC-E1E7F4B63AA7}" type="sibTrans" cxnId="{619F950C-EB4C-497E-80CB-1D1292CF8E58}">
      <dgm:prSet/>
      <dgm:spPr/>
      <dgm:t>
        <a:bodyPr/>
        <a:lstStyle/>
        <a:p>
          <a:endParaRPr lang="en-US"/>
        </a:p>
      </dgm:t>
    </dgm:pt>
    <dgm:pt modelId="{213E67BC-44C4-478B-B976-6B6142F63D17}">
      <dgm:prSet phldrT="[Text]"/>
      <dgm:spPr>
        <a:solidFill>
          <a:srgbClr val="FFFF00">
            <a:alpha val="90000"/>
          </a:srgbClr>
        </a:solidFill>
        <a:ln>
          <a:solidFill>
            <a:srgbClr val="FFFF00"/>
          </a:solidFill>
        </a:ln>
      </dgm:spPr>
      <dgm:t>
        <a:bodyPr/>
        <a:lstStyle/>
        <a:p>
          <a:r>
            <a:rPr lang="sr-Latn-ME" dirty="0"/>
            <a:t>Rekonstrukcija transformatorske stanice 110/33 kV Krnovo</a:t>
          </a:r>
          <a:endParaRPr lang="en-US" dirty="0"/>
        </a:p>
      </dgm:t>
    </dgm:pt>
    <dgm:pt modelId="{E8348539-C04F-4BDB-BB5A-F950E87B2562}" type="parTrans" cxnId="{7D79B173-9ACA-47E0-9365-DDC3F952B9CF}">
      <dgm:prSet/>
      <dgm:spPr/>
      <dgm:t>
        <a:bodyPr/>
        <a:lstStyle/>
        <a:p>
          <a:endParaRPr lang="en-US"/>
        </a:p>
      </dgm:t>
    </dgm:pt>
    <dgm:pt modelId="{37DAE896-D209-42B5-BFB2-6704F2E484C4}" type="sibTrans" cxnId="{7D79B173-9ACA-47E0-9365-DDC3F952B9CF}">
      <dgm:prSet/>
      <dgm:spPr/>
      <dgm:t>
        <a:bodyPr/>
        <a:lstStyle/>
        <a:p>
          <a:endParaRPr lang="en-US"/>
        </a:p>
      </dgm:t>
    </dgm:pt>
    <dgm:pt modelId="{71A95F0D-35D3-4B18-BDF9-424B66BCCF5D}">
      <dgm:prSet phldrT="[Text]"/>
      <dgm:spPr>
        <a:solidFill>
          <a:srgbClr val="FFFF00">
            <a:alpha val="90000"/>
          </a:srgbClr>
        </a:solidFill>
        <a:ln>
          <a:solidFill>
            <a:srgbClr val="FFFF00"/>
          </a:solidFill>
        </a:ln>
      </dgm:spPr>
      <dgm:t>
        <a:bodyPr/>
        <a:lstStyle/>
        <a:p>
          <a:r>
            <a:rPr lang="sr-Latn-ME" dirty="0"/>
            <a:t>Izgradnja jednostrukog dalekovoda 110 kV TS Gvozd - TS Krnovo, dužine 3125 m</a:t>
          </a:r>
          <a:endParaRPr lang="en-US" dirty="0"/>
        </a:p>
      </dgm:t>
    </dgm:pt>
    <dgm:pt modelId="{1A10EFF7-87CE-4057-BEFD-B8B38DA9D60C}" type="parTrans" cxnId="{8BEDE6EB-B468-42E0-9131-15C8A68142B8}">
      <dgm:prSet/>
      <dgm:spPr/>
      <dgm:t>
        <a:bodyPr/>
        <a:lstStyle/>
        <a:p>
          <a:endParaRPr lang="en-US"/>
        </a:p>
      </dgm:t>
    </dgm:pt>
    <dgm:pt modelId="{BC5CAAA3-A874-4435-8DC1-D62A06BDB797}" type="sibTrans" cxnId="{8BEDE6EB-B468-42E0-9131-15C8A68142B8}">
      <dgm:prSet/>
      <dgm:spPr/>
      <dgm:t>
        <a:bodyPr/>
        <a:lstStyle/>
        <a:p>
          <a:endParaRPr lang="en-US"/>
        </a:p>
      </dgm:t>
    </dgm:pt>
    <dgm:pt modelId="{8599FE73-1AA8-4724-AA5E-62EC6F45F528}">
      <dgm:prSet phldrT="[Text]"/>
      <dgm:spPr>
        <a:solidFill>
          <a:srgbClr val="FFFF00">
            <a:alpha val="90000"/>
          </a:srgbClr>
        </a:solidFill>
        <a:ln>
          <a:solidFill>
            <a:srgbClr val="FFFF00"/>
          </a:solidFill>
        </a:ln>
      </dgm:spPr>
      <dgm:t>
        <a:bodyPr/>
        <a:lstStyle/>
        <a:p>
          <a:r>
            <a:rPr lang="sr-Latn-ME" dirty="0"/>
            <a:t>Izgradnja jednostrukog dalekovoda 110 kV TS Gvozd - TS Nikšić, dužine 14730 m</a:t>
          </a:r>
          <a:endParaRPr lang="en-US" dirty="0"/>
        </a:p>
      </dgm:t>
    </dgm:pt>
    <dgm:pt modelId="{10E6E390-DE66-4416-93C9-3A5516945357}" type="parTrans" cxnId="{7428231A-A0D2-4315-AB78-41C1C60D2659}">
      <dgm:prSet/>
      <dgm:spPr/>
      <dgm:t>
        <a:bodyPr/>
        <a:lstStyle/>
        <a:p>
          <a:endParaRPr lang="en-US"/>
        </a:p>
      </dgm:t>
    </dgm:pt>
    <dgm:pt modelId="{A7B2DCF5-E1E7-4698-B241-2255AFF94BA2}" type="sibTrans" cxnId="{7428231A-A0D2-4315-AB78-41C1C60D2659}">
      <dgm:prSet/>
      <dgm:spPr/>
      <dgm:t>
        <a:bodyPr/>
        <a:lstStyle/>
        <a:p>
          <a:endParaRPr lang="en-US"/>
        </a:p>
      </dgm:t>
    </dgm:pt>
    <dgm:pt modelId="{B5347B87-C1FB-48E0-8325-81E4630429A8}">
      <dgm:prSet phldrT="[Text]"/>
      <dgm:spPr>
        <a:solidFill>
          <a:srgbClr val="FFFF00">
            <a:alpha val="90000"/>
          </a:srgbClr>
        </a:solidFill>
        <a:ln>
          <a:solidFill>
            <a:srgbClr val="FFFF00"/>
          </a:solidFill>
        </a:ln>
      </dgm:spPr>
      <dgm:t>
        <a:bodyPr/>
        <a:lstStyle/>
        <a:p>
          <a:r>
            <a:rPr lang="sr-Latn-ME" dirty="0"/>
            <a:t>Rekonstrukcija transformatorske stanice 110/35 kV Nikšić</a:t>
          </a:r>
          <a:endParaRPr lang="en-US" dirty="0"/>
        </a:p>
      </dgm:t>
    </dgm:pt>
    <dgm:pt modelId="{23BE3068-D55F-426B-B505-2DA728155193}" type="parTrans" cxnId="{8C9ABDE3-ADE0-4742-AB16-2F9F4E7B4E3C}">
      <dgm:prSet/>
      <dgm:spPr/>
      <dgm:t>
        <a:bodyPr/>
        <a:lstStyle/>
        <a:p>
          <a:endParaRPr lang="en-US"/>
        </a:p>
      </dgm:t>
    </dgm:pt>
    <dgm:pt modelId="{15772A47-BF59-4424-90F3-9501D92D5636}" type="sibTrans" cxnId="{8C9ABDE3-ADE0-4742-AB16-2F9F4E7B4E3C}">
      <dgm:prSet/>
      <dgm:spPr/>
      <dgm:t>
        <a:bodyPr/>
        <a:lstStyle/>
        <a:p>
          <a:endParaRPr lang="en-US"/>
        </a:p>
      </dgm:t>
    </dgm:pt>
    <dgm:pt modelId="{604A1555-EC3A-4C3D-A114-EC0A13A09A02}">
      <dgm:prSet phldrT="[Text]" custT="1"/>
      <dgm:spPr>
        <a:solidFill>
          <a:schemeClr val="accent1">
            <a:lumMod val="50000"/>
          </a:schemeClr>
        </a:solidFill>
        <a:ln>
          <a:solidFill>
            <a:schemeClr val="accent1">
              <a:lumMod val="50000"/>
            </a:schemeClr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pPr algn="ctr"/>
          <a:r>
            <a:rPr lang="en-US" sz="2000" b="1" dirty="0" err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azna</a:t>
          </a:r>
          <a:r>
            <a:rPr lang="en-US" sz="2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n-US" sz="2000" b="1" dirty="0" err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zgradnja</a:t>
          </a:r>
          <a:endParaRPr lang="en-US" sz="2000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ctr"/>
          <a:r>
            <a:rPr lang="en-US" sz="2000" b="1" dirty="0" err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</a:t>
          </a:r>
          <a:r>
            <a:rPr lang="en-US" sz="2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n-US" sz="2000" b="1" dirty="0" err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uštanje</a:t>
          </a:r>
          <a:r>
            <a:rPr lang="en-US" sz="2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u rad</a:t>
          </a:r>
        </a:p>
      </dgm:t>
    </dgm:pt>
    <dgm:pt modelId="{68482B0D-979C-4EC1-97C6-8C4445C9BA17}" type="sibTrans" cxnId="{A355E534-BD09-44DC-88D2-D46934123475}">
      <dgm:prSet/>
      <dgm:spPr/>
      <dgm:t>
        <a:bodyPr/>
        <a:lstStyle/>
        <a:p>
          <a:endParaRPr lang="en-US"/>
        </a:p>
      </dgm:t>
    </dgm:pt>
    <dgm:pt modelId="{B5B2986B-D5D1-43E0-8F46-C6A8CB47C439}" type="parTrans" cxnId="{A355E534-BD09-44DC-88D2-D46934123475}">
      <dgm:prSet/>
      <dgm:spPr/>
      <dgm:t>
        <a:bodyPr/>
        <a:lstStyle/>
        <a:p>
          <a:endParaRPr lang="en-US"/>
        </a:p>
      </dgm:t>
    </dgm:pt>
    <dgm:pt modelId="{8A9E1340-AE35-4F53-906E-4DF81E21A832}" type="pres">
      <dgm:prSet presAssocID="{0FD0A73D-A1B4-4326-B3A0-4F6822D5E105}" presName="linearFlow" presStyleCnt="0">
        <dgm:presLayoutVars>
          <dgm:dir/>
          <dgm:animLvl val="lvl"/>
          <dgm:resizeHandles val="exact"/>
        </dgm:presLayoutVars>
      </dgm:prSet>
      <dgm:spPr/>
    </dgm:pt>
    <dgm:pt modelId="{DE8615ED-D57C-40BB-BD3E-BED425D3FE92}" type="pres">
      <dgm:prSet presAssocID="{604A1555-EC3A-4C3D-A114-EC0A13A09A02}" presName="composite" presStyleCnt="0"/>
      <dgm:spPr/>
    </dgm:pt>
    <dgm:pt modelId="{D333F047-647F-4FE4-BCEB-65BF1F338C3C}" type="pres">
      <dgm:prSet presAssocID="{604A1555-EC3A-4C3D-A114-EC0A13A09A02}" presName="parentText" presStyleLbl="alignNode1" presStyleIdx="0" presStyleCnt="1" custLinFactNeighborX="1353" custLinFactNeighborY="0">
        <dgm:presLayoutVars>
          <dgm:chMax val="1"/>
          <dgm:bulletEnabled val="1"/>
        </dgm:presLayoutVars>
      </dgm:prSet>
      <dgm:spPr/>
    </dgm:pt>
    <dgm:pt modelId="{CAFE7628-7677-42D9-9989-22F389F1AAAC}" type="pres">
      <dgm:prSet presAssocID="{604A1555-EC3A-4C3D-A114-EC0A13A09A02}" presName="descendantText" presStyleLbl="alignAcc1" presStyleIdx="0" presStyleCnt="1" custLinFactNeighborY="0">
        <dgm:presLayoutVars>
          <dgm:bulletEnabled val="1"/>
        </dgm:presLayoutVars>
      </dgm:prSet>
      <dgm:spPr/>
    </dgm:pt>
  </dgm:ptLst>
  <dgm:cxnLst>
    <dgm:cxn modelId="{619F950C-EB4C-497E-80CB-1D1292CF8E58}" srcId="{604A1555-EC3A-4C3D-A114-EC0A13A09A02}" destId="{DB7A0BF9-F365-4C92-A9CC-C3168F1A7813}" srcOrd="1" destOrd="0" parTransId="{B9AEFB6C-5B57-4888-B3BA-85D460CB4635}" sibTransId="{5F6D9AD0-663B-4A45-B0CC-E1E7F4B63AA7}"/>
    <dgm:cxn modelId="{B839A10C-093D-4F94-8F4F-27B0275F2A31}" type="presOf" srcId="{213E67BC-44C4-478B-B976-6B6142F63D17}" destId="{CAFE7628-7677-42D9-9989-22F389F1AAAC}" srcOrd="0" destOrd="2" presId="urn:microsoft.com/office/officeart/2005/8/layout/chevron2"/>
    <dgm:cxn modelId="{7428231A-A0D2-4315-AB78-41C1C60D2659}" srcId="{604A1555-EC3A-4C3D-A114-EC0A13A09A02}" destId="{8599FE73-1AA8-4724-AA5E-62EC6F45F528}" srcOrd="4" destOrd="0" parTransId="{10E6E390-DE66-4416-93C9-3A5516945357}" sibTransId="{A7B2DCF5-E1E7-4698-B241-2255AFF94BA2}"/>
    <dgm:cxn modelId="{1DC25E21-EB81-432E-815F-8D569B89147A}" type="presOf" srcId="{71A95F0D-35D3-4B18-BDF9-424B66BCCF5D}" destId="{CAFE7628-7677-42D9-9989-22F389F1AAAC}" srcOrd="0" destOrd="3" presId="urn:microsoft.com/office/officeart/2005/8/layout/chevron2"/>
    <dgm:cxn modelId="{A355E534-BD09-44DC-88D2-D46934123475}" srcId="{0FD0A73D-A1B4-4326-B3A0-4F6822D5E105}" destId="{604A1555-EC3A-4C3D-A114-EC0A13A09A02}" srcOrd="0" destOrd="0" parTransId="{B5B2986B-D5D1-43E0-8F46-C6A8CB47C439}" sibTransId="{68482B0D-979C-4EC1-97C6-8C4445C9BA17}"/>
    <dgm:cxn modelId="{1659C044-5A65-4416-AE9B-648AC67A1C43}" srcId="{604A1555-EC3A-4C3D-A114-EC0A13A09A02}" destId="{1914FDA2-1B7E-47B0-AE11-DEE266D745B6}" srcOrd="0" destOrd="0" parTransId="{24EADB43-B43B-4B0B-9C8A-C030AF652A59}" sibTransId="{32957DAA-3929-44ED-9C33-F190ADDAC0C6}"/>
    <dgm:cxn modelId="{DDE9A647-EAD2-4D4C-92CF-F628ECA958FE}" type="presOf" srcId="{604A1555-EC3A-4C3D-A114-EC0A13A09A02}" destId="{D333F047-647F-4FE4-BCEB-65BF1F338C3C}" srcOrd="0" destOrd="0" presId="urn:microsoft.com/office/officeart/2005/8/layout/chevron2"/>
    <dgm:cxn modelId="{F85BDF71-E188-448D-AF4B-AD2A7F42AE8C}" type="presOf" srcId="{DB7A0BF9-F365-4C92-A9CC-C3168F1A7813}" destId="{CAFE7628-7677-42D9-9989-22F389F1AAAC}" srcOrd="0" destOrd="1" presId="urn:microsoft.com/office/officeart/2005/8/layout/chevron2"/>
    <dgm:cxn modelId="{7D79B173-9ACA-47E0-9365-DDC3F952B9CF}" srcId="{604A1555-EC3A-4C3D-A114-EC0A13A09A02}" destId="{213E67BC-44C4-478B-B976-6B6142F63D17}" srcOrd="2" destOrd="0" parTransId="{E8348539-C04F-4BDB-BB5A-F950E87B2562}" sibTransId="{37DAE896-D209-42B5-BFB2-6704F2E484C4}"/>
    <dgm:cxn modelId="{7FFBF578-2806-496B-B6ED-3CC14902C793}" type="presOf" srcId="{1914FDA2-1B7E-47B0-AE11-DEE266D745B6}" destId="{CAFE7628-7677-42D9-9989-22F389F1AAAC}" srcOrd="0" destOrd="0" presId="urn:microsoft.com/office/officeart/2005/8/layout/chevron2"/>
    <dgm:cxn modelId="{915D7C94-C43B-44FB-8E7F-8E8AE002F4EC}" type="presOf" srcId="{0FD0A73D-A1B4-4326-B3A0-4F6822D5E105}" destId="{8A9E1340-AE35-4F53-906E-4DF81E21A832}" srcOrd="0" destOrd="0" presId="urn:microsoft.com/office/officeart/2005/8/layout/chevron2"/>
    <dgm:cxn modelId="{E98CA5A7-3CCD-4561-ACAB-E13B81131DB4}" type="presOf" srcId="{B5347B87-C1FB-48E0-8325-81E4630429A8}" destId="{CAFE7628-7677-42D9-9989-22F389F1AAAC}" srcOrd="0" destOrd="5" presId="urn:microsoft.com/office/officeart/2005/8/layout/chevron2"/>
    <dgm:cxn modelId="{8C9ABDE3-ADE0-4742-AB16-2F9F4E7B4E3C}" srcId="{604A1555-EC3A-4C3D-A114-EC0A13A09A02}" destId="{B5347B87-C1FB-48E0-8325-81E4630429A8}" srcOrd="5" destOrd="0" parTransId="{23BE3068-D55F-426B-B505-2DA728155193}" sibTransId="{15772A47-BF59-4424-90F3-9501D92D5636}"/>
    <dgm:cxn modelId="{8BEDE6EB-B468-42E0-9131-15C8A68142B8}" srcId="{604A1555-EC3A-4C3D-A114-EC0A13A09A02}" destId="{71A95F0D-35D3-4B18-BDF9-424B66BCCF5D}" srcOrd="3" destOrd="0" parTransId="{1A10EFF7-87CE-4057-BEFD-B8B38DA9D60C}" sibTransId="{BC5CAAA3-A874-4435-8DC1-D62A06BDB797}"/>
    <dgm:cxn modelId="{1FBFB4F6-660E-4117-A6DC-EE7F71AF5413}" type="presOf" srcId="{8599FE73-1AA8-4724-AA5E-62EC6F45F528}" destId="{CAFE7628-7677-42D9-9989-22F389F1AAAC}" srcOrd="0" destOrd="4" presId="urn:microsoft.com/office/officeart/2005/8/layout/chevron2"/>
    <dgm:cxn modelId="{1DCB336D-FF4A-4E36-83C3-4C2AD4686A6B}" type="presParOf" srcId="{8A9E1340-AE35-4F53-906E-4DF81E21A832}" destId="{DE8615ED-D57C-40BB-BD3E-BED425D3FE92}" srcOrd="0" destOrd="0" presId="urn:microsoft.com/office/officeart/2005/8/layout/chevron2"/>
    <dgm:cxn modelId="{ABDFCD79-1CF4-4A0F-9962-EB8CC332A9BE}" type="presParOf" srcId="{DE8615ED-D57C-40BB-BD3E-BED425D3FE92}" destId="{D333F047-647F-4FE4-BCEB-65BF1F338C3C}" srcOrd="0" destOrd="0" presId="urn:microsoft.com/office/officeart/2005/8/layout/chevron2"/>
    <dgm:cxn modelId="{8F989DC0-E598-47C3-891B-4BB3E6771B82}" type="presParOf" srcId="{DE8615ED-D57C-40BB-BD3E-BED425D3FE92}" destId="{CAFE7628-7677-42D9-9989-22F389F1AAAC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77A3EC-7E00-4A44-9FC5-27855E2E1F0B}">
      <dsp:nvSpPr>
        <dsp:cNvPr id="0" name=""/>
        <dsp:cNvSpPr/>
      </dsp:nvSpPr>
      <dsp:spPr>
        <a:xfrm>
          <a:off x="139345" y="8627"/>
          <a:ext cx="4848496" cy="1381548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glow" dir="t">
            <a:rot lat="0" lon="0" rev="14100000"/>
          </a:lightRig>
        </a:scene3d>
        <a:sp3d prstMaterial="softEdge">
          <a:bevelT w="127000" prst="artDeco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1600" b="0" kern="1200" dirty="0">
              <a:solidFill>
                <a:schemeClr val="tx2"/>
              </a:solidFill>
            </a:rPr>
            <a:t>Rekonstrukcija hidromašinske i elektro opreme agregata</a:t>
          </a:r>
          <a:r>
            <a:rPr lang="en-US" sz="1600" b="0" kern="1200" dirty="0">
              <a:solidFill>
                <a:schemeClr val="tx2"/>
              </a:solidFill>
            </a:rPr>
            <a:t> A1, A2 </a:t>
          </a:r>
          <a:r>
            <a:rPr lang="sr-Latn-ME" sz="1600" b="0" kern="1200" dirty="0">
              <a:solidFill>
                <a:schemeClr val="tx2"/>
              </a:solidFill>
            </a:rPr>
            <a:t>i</a:t>
          </a:r>
          <a:r>
            <a:rPr lang="en-US" sz="1600" b="0" kern="1200" dirty="0">
              <a:solidFill>
                <a:schemeClr val="tx2"/>
              </a:solidFill>
            </a:rPr>
            <a:t> A3 </a:t>
          </a:r>
          <a:r>
            <a:rPr lang="sr-Latn-ME" sz="1600" b="0" kern="1200" dirty="0">
              <a:solidFill>
                <a:schemeClr val="tx2"/>
              </a:solidFill>
            </a:rPr>
            <a:t>i sopstvene potrošnje elektrane; </a:t>
          </a:r>
          <a:endParaRPr lang="en-GB" sz="1600" b="0" kern="1200" dirty="0">
            <a:solidFill>
              <a:schemeClr val="tx2"/>
            </a:solidFill>
          </a:endParaRPr>
        </a:p>
        <a:p>
          <a:pPr marL="0" lvl="0" indent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1400" b="0" i="1" kern="1200" dirty="0">
              <a:solidFill>
                <a:schemeClr val="tx2"/>
              </a:solidFill>
            </a:rPr>
            <a:t>završetak radova 2022. godine</a:t>
          </a:r>
          <a:endParaRPr lang="en-US" sz="1400" b="0" i="1" kern="1200" dirty="0">
            <a:solidFill>
              <a:schemeClr val="tx2"/>
            </a:solidFill>
          </a:endParaRPr>
        </a:p>
      </dsp:txBody>
      <dsp:txXfrm>
        <a:off x="179809" y="49091"/>
        <a:ext cx="3357698" cy="1300620"/>
      </dsp:txXfrm>
    </dsp:sp>
    <dsp:sp modelId="{D9F3CE7F-2564-429D-944C-61F29BE7587D}">
      <dsp:nvSpPr>
        <dsp:cNvPr id="0" name=""/>
        <dsp:cNvSpPr/>
      </dsp:nvSpPr>
      <dsp:spPr>
        <a:xfrm>
          <a:off x="427808" y="1576887"/>
          <a:ext cx="4848496" cy="1381548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glow" dir="t">
            <a:rot lat="0" lon="0" rev="14100000"/>
          </a:lightRig>
        </a:scene3d>
        <a:sp3d prstMaterial="softEdge">
          <a:bevelT w="127000" prst="artDeco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1600" b="0" kern="1200" dirty="0">
              <a:solidFill>
                <a:schemeClr val="tx2"/>
              </a:solidFill>
            </a:rPr>
            <a:t>Ugovor o kreditnom finansiranju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sa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noProof="0" dirty="0">
              <a:solidFill>
                <a:schemeClr val="tx2"/>
              </a:solidFill>
            </a:rPr>
            <a:t>Kf</a:t>
          </a:r>
          <a:r>
            <a:rPr lang="sr-Latn-ME" sz="1600" b="0" kern="1200" dirty="0">
              <a:solidFill>
                <a:schemeClr val="tx2"/>
              </a:solidFill>
            </a:rPr>
            <a:t>W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b</a:t>
          </a:r>
          <a:r>
            <a:rPr lang="sr-Latn-ME" sz="1600" b="0" kern="1200" noProof="0" dirty="0">
              <a:solidFill>
                <a:schemeClr val="tx2"/>
              </a:solidFill>
            </a:rPr>
            <a:t>ank</a:t>
          </a:r>
          <a:r>
            <a:rPr lang="sr-Latn-ME" sz="1600" b="0" kern="1200" dirty="0">
              <a:solidFill>
                <a:schemeClr val="tx2"/>
              </a:solidFill>
            </a:rPr>
            <a:t>om </a:t>
          </a:r>
          <a:endParaRPr lang="en-GB" sz="1600" b="0" kern="1200" dirty="0">
            <a:solidFill>
              <a:schemeClr val="tx2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1400" b="0" i="1" kern="1200" dirty="0">
              <a:solidFill>
                <a:schemeClr val="tx2"/>
              </a:solidFill>
            </a:rPr>
            <a:t>(vrijednos</a:t>
          </a:r>
          <a:r>
            <a:rPr lang="en-GB" sz="1400" b="0" i="1" kern="1200" dirty="0">
              <a:solidFill>
                <a:schemeClr val="tx2"/>
              </a:solidFill>
            </a:rPr>
            <a:t>t </a:t>
          </a:r>
          <a:r>
            <a:rPr lang="sr-Latn-ME" sz="1400" b="0" i="1" kern="1200" dirty="0">
              <a:solidFill>
                <a:schemeClr val="tx2"/>
              </a:solidFill>
            </a:rPr>
            <a:t>kredita </a:t>
          </a:r>
          <a:r>
            <a:rPr lang="en-US" sz="1400" b="0" i="1" kern="1200" dirty="0">
              <a:solidFill>
                <a:schemeClr val="tx2"/>
              </a:solidFill>
            </a:rPr>
            <a:t>€16</a:t>
          </a:r>
          <a:r>
            <a:rPr lang="sr-Latn-ME" sz="1400" b="0" i="1" kern="1200" dirty="0">
              <a:solidFill>
                <a:schemeClr val="tx2"/>
              </a:solidFill>
            </a:rPr>
            <a:t>M)</a:t>
          </a:r>
          <a:endParaRPr lang="en-US" sz="1400" i="1" kern="1200" dirty="0">
            <a:solidFill>
              <a:schemeClr val="tx2"/>
            </a:solidFill>
          </a:endParaRPr>
        </a:p>
      </dsp:txBody>
      <dsp:txXfrm>
        <a:off x="468272" y="1617351"/>
        <a:ext cx="3441753" cy="1300620"/>
      </dsp:txXfrm>
    </dsp:sp>
    <dsp:sp modelId="{285C46EE-5C20-4845-9BDF-69821862C37F}">
      <dsp:nvSpPr>
        <dsp:cNvPr id="0" name=""/>
        <dsp:cNvSpPr/>
      </dsp:nvSpPr>
      <dsp:spPr>
        <a:xfrm>
          <a:off x="727083" y="3118856"/>
          <a:ext cx="4848496" cy="1521222"/>
        </a:xfrm>
        <a:prstGeom prst="roundRect">
          <a:avLst>
            <a:gd name="adj" fmla="val 10000"/>
          </a:avLst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glow" dir="t">
            <a:rot lat="0" lon="0" rev="14100000"/>
          </a:lightRig>
        </a:scene3d>
        <a:sp3d prstMaterial="softEdge">
          <a:bevelT w="127000" prst="artDeco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1600" b="0" kern="1200" dirty="0">
              <a:solidFill>
                <a:schemeClr val="tx2"/>
              </a:solidFill>
            </a:rPr>
            <a:t>U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j</a:t>
          </a:r>
          <a:r>
            <a:rPr lang="sr-Latn-ME" sz="1600" b="0" kern="1200" noProof="0" dirty="0">
              <a:solidFill>
                <a:schemeClr val="tx2"/>
              </a:solidFill>
            </a:rPr>
            <a:t>ul</a:t>
          </a:r>
          <a:r>
            <a:rPr lang="sr-Latn-ME" sz="1600" b="0" kern="1200" dirty="0">
              <a:solidFill>
                <a:schemeClr val="tx2"/>
              </a:solidFill>
            </a:rPr>
            <a:t>u</a:t>
          </a:r>
          <a:r>
            <a:rPr lang="en-US" sz="1600" b="0" kern="1200" dirty="0">
              <a:solidFill>
                <a:schemeClr val="tx2"/>
              </a:solidFill>
            </a:rPr>
            <a:t> 2018</a:t>
          </a:r>
          <a:r>
            <a:rPr lang="sr-Latn-ME" sz="1600" b="0" kern="1200" dirty="0">
              <a:solidFill>
                <a:schemeClr val="tx2"/>
              </a:solidFill>
            </a:rPr>
            <a:t>.</a:t>
          </a:r>
          <a:r>
            <a:rPr lang="en-US" sz="1600" b="0" kern="1200" dirty="0">
              <a:solidFill>
                <a:schemeClr val="tx2"/>
              </a:solidFill>
            </a:rPr>
            <a:t> EPCG </a:t>
          </a:r>
          <a:r>
            <a:rPr lang="sr-Latn-ME" sz="1600" b="0" kern="1200" dirty="0">
              <a:solidFill>
                <a:schemeClr val="tx2"/>
              </a:solidFill>
            </a:rPr>
            <a:t>je zaključila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Ugovor sa izvođačem</a:t>
          </a:r>
          <a:r>
            <a:rPr lang="en-US" sz="1600" b="0" kern="1200" dirty="0">
              <a:solidFill>
                <a:schemeClr val="tx2"/>
              </a:solidFill>
            </a:rPr>
            <a:t> JV </a:t>
          </a:r>
          <a:r>
            <a:rPr lang="sr-Latn-ME" sz="1600" b="0" kern="1200" noProof="0" dirty="0">
              <a:solidFill>
                <a:schemeClr val="tx2"/>
              </a:solidFill>
            </a:rPr>
            <a:t>Litostroj</a:t>
          </a:r>
          <a:r>
            <a:rPr lang="en-US" sz="1600" b="0" kern="1200" dirty="0">
              <a:solidFill>
                <a:schemeClr val="tx2"/>
              </a:solidFill>
            </a:rPr>
            <a:t> Power </a:t>
          </a:r>
          <a:r>
            <a:rPr lang="sr-Latn-ME" sz="1600" b="0" kern="1200" dirty="0">
              <a:solidFill>
                <a:schemeClr val="tx2"/>
              </a:solidFill>
            </a:rPr>
            <a:t>iz</a:t>
          </a:r>
          <a:r>
            <a:rPr lang="sr-Latn-ME" sz="1600" b="0" kern="1200" noProof="0" dirty="0">
              <a:solidFill>
                <a:schemeClr val="tx2"/>
              </a:solidFill>
            </a:rPr>
            <a:t> Sloven</a:t>
          </a:r>
          <a:r>
            <a:rPr lang="sr-Latn-ME" sz="1600" b="0" kern="1200" dirty="0">
              <a:solidFill>
                <a:schemeClr val="tx2"/>
              </a:solidFill>
            </a:rPr>
            <a:t>ije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i</a:t>
          </a:r>
          <a:r>
            <a:rPr lang="en-US" sz="1600" b="0" kern="1200" dirty="0">
              <a:solidFill>
                <a:schemeClr val="tx2"/>
              </a:solidFill>
            </a:rPr>
            <a:t> ABB </a:t>
          </a:r>
          <a:r>
            <a:rPr lang="sr-Latn-ME" sz="1600" b="0" kern="1200" dirty="0">
              <a:solidFill>
                <a:schemeClr val="tx2"/>
              </a:solidFill>
            </a:rPr>
            <a:t>iz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Italije</a:t>
          </a:r>
          <a:endParaRPr lang="en-GB" sz="1600" b="0" kern="1200" dirty="0">
            <a:solidFill>
              <a:schemeClr val="tx2"/>
            </a:solidFill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1400" b="0" i="1" kern="1200" noProof="0" dirty="0">
              <a:solidFill>
                <a:schemeClr val="tx2"/>
              </a:solidFill>
            </a:rPr>
            <a:t>Vrijednost ugovora </a:t>
          </a:r>
          <a:r>
            <a:rPr lang="en-US" sz="1400" b="0" i="1" kern="1200" dirty="0">
              <a:solidFill>
                <a:schemeClr val="tx2"/>
              </a:solidFill>
            </a:rPr>
            <a:t>€10</a:t>
          </a:r>
          <a:r>
            <a:rPr lang="sr-Latn-ME" sz="1400" b="0" i="1" kern="1200" dirty="0">
              <a:solidFill>
                <a:schemeClr val="tx2"/>
              </a:solidFill>
            </a:rPr>
            <a:t>.3M</a:t>
          </a:r>
          <a:endParaRPr lang="en-US" sz="1400" b="0" i="1" kern="1200" dirty="0">
            <a:solidFill>
              <a:schemeClr val="tx2"/>
            </a:solidFill>
          </a:endParaRPr>
        </a:p>
      </dsp:txBody>
      <dsp:txXfrm>
        <a:off x="771638" y="3163411"/>
        <a:ext cx="3433571" cy="1432112"/>
      </dsp:txXfrm>
    </dsp:sp>
    <dsp:sp modelId="{3F32C626-B60A-4494-BBE6-7EEF667E0BF6}">
      <dsp:nvSpPr>
        <dsp:cNvPr id="0" name=""/>
        <dsp:cNvSpPr/>
      </dsp:nvSpPr>
      <dsp:spPr>
        <a:xfrm>
          <a:off x="3950490" y="1012755"/>
          <a:ext cx="898006" cy="89800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184150" dist="241300" dir="11520000" sx="110000" sy="110000" algn="ctr" rotWithShape="0">
            <a:srgbClr val="000000">
              <a:alpha val="18000"/>
            </a:srgbClr>
          </a:outerShdw>
        </a:effectLst>
        <a:scene3d>
          <a:camera prst="perspectiveFront" fov="5100000">
            <a:rot lat="0" lon="2100000" rev="0"/>
          </a:camera>
          <a:lightRig rig="flood" dir="t">
            <a:rot lat="0" lon="0" rev="13800000"/>
          </a:lightRig>
        </a:scene3d>
        <a:sp3d extrusionH="107950" prstMaterial="plastic">
          <a:bevelT w="82550" h="63500" prst="divot"/>
          <a:bevelB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152541" y="1012755"/>
        <a:ext cx="493904" cy="675750"/>
      </dsp:txXfrm>
    </dsp:sp>
    <dsp:sp modelId="{3D8B4FDC-B9DD-413E-A9BD-6D8F1B49E38C}">
      <dsp:nvSpPr>
        <dsp:cNvPr id="0" name=""/>
        <dsp:cNvSpPr/>
      </dsp:nvSpPr>
      <dsp:spPr>
        <a:xfrm>
          <a:off x="4378299" y="2615351"/>
          <a:ext cx="898006" cy="89800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>
          <a:outerShdw blurRad="184150" dist="241300" dir="11520000" sx="110000" sy="110000" algn="ctr" rotWithShape="0">
            <a:srgbClr val="000000">
              <a:alpha val="18000"/>
            </a:srgbClr>
          </a:outerShdw>
        </a:effectLst>
        <a:scene3d>
          <a:camera prst="perspectiveFront" fov="5100000">
            <a:rot lat="0" lon="2100000" rev="0"/>
          </a:camera>
          <a:lightRig rig="flood" dir="t">
            <a:rot lat="0" lon="0" rev="13800000"/>
          </a:lightRig>
        </a:scene3d>
        <a:sp3d extrusionH="107950" prstMaterial="plastic">
          <a:bevelT w="82550" h="63500" prst="divot"/>
          <a:bevelB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600" kern="1200"/>
        </a:p>
      </dsp:txBody>
      <dsp:txXfrm>
        <a:off x="4580350" y="2615351"/>
        <a:ext cx="493904" cy="6757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961DC5-A732-4F4A-89D3-26E1E94870CC}">
      <dsp:nvSpPr>
        <dsp:cNvPr id="0" name=""/>
        <dsp:cNvSpPr/>
      </dsp:nvSpPr>
      <dsp:spPr>
        <a:xfrm>
          <a:off x="0" y="60212"/>
          <a:ext cx="5046602" cy="1428988"/>
        </a:xfrm>
        <a:prstGeom prst="round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>
          <a:outerShdw blurRad="57785" dist="33020" dir="318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2000" b="1" kern="1200" noProof="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ekonstrukcija i modernizacija </a:t>
          </a:r>
        </a:p>
      </dsp:txBody>
      <dsp:txXfrm>
        <a:off x="69757" y="129969"/>
        <a:ext cx="4907088" cy="1289474"/>
      </dsp:txXfrm>
    </dsp:sp>
    <dsp:sp modelId="{85BFFC5E-2C47-4727-9C3A-5A9D154118E0}">
      <dsp:nvSpPr>
        <dsp:cNvPr id="0" name=""/>
        <dsp:cNvSpPr/>
      </dsp:nvSpPr>
      <dsp:spPr>
        <a:xfrm>
          <a:off x="0" y="1437294"/>
          <a:ext cx="5046602" cy="2831760"/>
        </a:xfrm>
        <a:prstGeom prst="rect">
          <a:avLst/>
        </a:prstGeom>
        <a:solidFill>
          <a:srgbClr val="FFFF00"/>
        </a:solidFill>
        <a:ln w="9525" cap="flat" cmpd="sng" algn="ctr">
          <a:solidFill>
            <a:srgbClr val="FFFF0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160230" tIns="20320" rIns="113792" bIns="20320" numCol="1" spcCol="1270" anchor="t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600" i="1" kern="1200" dirty="0"/>
        </a:p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sr-Latn-ME" sz="1600" b="0" i="1" kern="1200" noProof="0" dirty="0">
              <a:solidFill>
                <a:schemeClr val="bg2"/>
              </a:solidFill>
            </a:rPr>
            <a:t>hidromašinske</a:t>
          </a:r>
          <a:r>
            <a:rPr lang="en-US" sz="1600" b="0" i="1" kern="1200" dirty="0">
              <a:solidFill>
                <a:schemeClr val="bg2"/>
              </a:solidFill>
            </a:rPr>
            <a:t> </a:t>
          </a:r>
          <a:r>
            <a:rPr lang="sr-Latn-ME" sz="1600" b="0" i="1" kern="1200" noProof="0" dirty="0">
              <a:solidFill>
                <a:schemeClr val="bg2"/>
              </a:solidFill>
            </a:rPr>
            <a:t>i elektro opreme</a:t>
          </a:r>
          <a:r>
            <a:rPr lang="sr-Latn-ME" sz="1600" b="0" i="1" kern="1200" dirty="0">
              <a:solidFill>
                <a:schemeClr val="bg2"/>
              </a:solidFill>
            </a:rPr>
            <a:t> agregata </a:t>
          </a:r>
          <a:r>
            <a:rPr lang="en-US" sz="1600" b="0" i="1" kern="1200" dirty="0">
              <a:solidFill>
                <a:schemeClr val="bg2"/>
              </a:solidFill>
            </a:rPr>
            <a:t>A5, A6</a:t>
          </a:r>
          <a:r>
            <a:rPr lang="sr-Latn-ME" sz="1600" b="0" i="1" kern="1200" dirty="0">
              <a:solidFill>
                <a:schemeClr val="bg2"/>
              </a:solidFill>
            </a:rPr>
            <a:t> i</a:t>
          </a:r>
          <a:r>
            <a:rPr lang="en-US" sz="1600" b="0" i="1" kern="1200" dirty="0">
              <a:solidFill>
                <a:schemeClr val="bg2"/>
              </a:solidFill>
            </a:rPr>
            <a:t> A7</a:t>
          </a:r>
          <a:endParaRPr lang="en-US" sz="1600" i="1" kern="1200" dirty="0"/>
        </a:p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sr-Latn-ME" sz="1600" b="0" i="1" kern="1200" dirty="0">
              <a:solidFill>
                <a:schemeClr val="bg2"/>
              </a:solidFill>
            </a:rPr>
            <a:t>opreme za hidrološka-hidraulička mjerenja</a:t>
          </a:r>
          <a:endParaRPr lang="en-US" sz="1600" i="1" kern="1200" dirty="0"/>
        </a:p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sr-Latn-ME" sz="1600" i="1" kern="1200" dirty="0"/>
            <a:t>nadvišenje i sanacija kanala Opačica i Moštanica</a:t>
          </a:r>
          <a:endParaRPr lang="en-US" sz="1600" i="1" kern="1200" dirty="0"/>
        </a:p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sr-Latn-ME" sz="1600" b="0" i="1" kern="1200" dirty="0">
              <a:solidFill>
                <a:schemeClr val="bg2"/>
              </a:solidFill>
            </a:rPr>
            <a:t>instalacija integrisanog informacionog sistema na nivou elektrane</a:t>
          </a:r>
          <a:endParaRPr lang="en-US" sz="1600" i="1" kern="1200" dirty="0"/>
        </a:p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sr-Latn-ME" sz="1600" b="0" i="1" kern="1200" dirty="0">
              <a:solidFill>
                <a:schemeClr val="bg2"/>
              </a:solidFill>
            </a:rPr>
            <a:t>rekonstrukcija i modernizacija objekata sistema</a:t>
          </a:r>
          <a:endParaRPr lang="en-US" sz="1600" i="1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800" kern="1200" dirty="0"/>
        </a:p>
      </dsp:txBody>
      <dsp:txXfrm>
        <a:off x="0" y="1437294"/>
        <a:ext cx="5046602" cy="2831760"/>
      </dsp:txXfrm>
    </dsp:sp>
    <dsp:sp modelId="{5970BAFD-C4BA-4EC3-B410-481F545E8D0A}">
      <dsp:nvSpPr>
        <dsp:cNvPr id="0" name=""/>
        <dsp:cNvSpPr/>
      </dsp:nvSpPr>
      <dsp:spPr>
        <a:xfrm>
          <a:off x="0" y="4076240"/>
          <a:ext cx="5046602" cy="930324"/>
        </a:xfrm>
        <a:prstGeom prst="round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just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1600" b="0" kern="1200" dirty="0">
              <a:solidFill>
                <a:schemeClr val="tx2"/>
              </a:solidFill>
            </a:rPr>
            <a:t>Za potrebe finansiranja projekta</a:t>
          </a:r>
          <a:r>
            <a:rPr lang="en-US" sz="1600" b="0" kern="1200" dirty="0">
              <a:solidFill>
                <a:schemeClr val="tx2"/>
              </a:solidFill>
            </a:rPr>
            <a:t>, EPCG </a:t>
          </a:r>
          <a:r>
            <a:rPr lang="sr-Latn-ME" sz="1600" b="0" kern="1200" dirty="0">
              <a:solidFill>
                <a:schemeClr val="tx2"/>
              </a:solidFill>
            </a:rPr>
            <a:t>je potpisala 18.9.2019. kreditni ugovor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sa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noProof="0" dirty="0">
              <a:solidFill>
                <a:schemeClr val="tx2"/>
              </a:solidFill>
            </a:rPr>
            <a:t>KfW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b</a:t>
          </a:r>
          <a:r>
            <a:rPr lang="sr-Latn-ME" sz="1600" b="0" kern="1200" noProof="0" dirty="0">
              <a:solidFill>
                <a:schemeClr val="tx2"/>
              </a:solidFill>
            </a:rPr>
            <a:t>ank</a:t>
          </a:r>
          <a:r>
            <a:rPr lang="sr-Latn-ME" sz="1600" b="0" kern="1200" dirty="0">
              <a:solidFill>
                <a:schemeClr val="tx2"/>
              </a:solidFill>
            </a:rPr>
            <a:t>om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u iznosu od</a:t>
          </a:r>
          <a:r>
            <a:rPr lang="en-US" sz="1600" b="0" kern="1200" dirty="0">
              <a:solidFill>
                <a:schemeClr val="tx2"/>
              </a:solidFill>
            </a:rPr>
            <a:t> </a:t>
          </a:r>
          <a:r>
            <a:rPr lang="sr-Latn-ME" sz="1600" b="0" kern="1200" dirty="0">
              <a:solidFill>
                <a:schemeClr val="tx2"/>
              </a:solidFill>
            </a:rPr>
            <a:t>cca. </a:t>
          </a:r>
          <a:r>
            <a:rPr lang="en-US" sz="1600" b="0" kern="1200" dirty="0">
              <a:solidFill>
                <a:schemeClr val="tx2"/>
              </a:solidFill>
            </a:rPr>
            <a:t>€33</a:t>
          </a:r>
          <a:r>
            <a:rPr lang="sr-Latn-ME" sz="1600" b="0" kern="1200" dirty="0">
              <a:solidFill>
                <a:schemeClr val="tx2"/>
              </a:solidFill>
            </a:rPr>
            <a:t>M</a:t>
          </a:r>
          <a:endParaRPr lang="en-US" sz="1600" b="0" kern="1200" dirty="0">
            <a:solidFill>
              <a:schemeClr val="tx2"/>
            </a:solidFill>
          </a:endParaRPr>
        </a:p>
      </dsp:txBody>
      <dsp:txXfrm>
        <a:off x="45415" y="4121655"/>
        <a:ext cx="4955772" cy="8394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961DC5-A732-4F4A-89D3-26E1E94870CC}">
      <dsp:nvSpPr>
        <dsp:cNvPr id="0" name=""/>
        <dsp:cNvSpPr/>
      </dsp:nvSpPr>
      <dsp:spPr>
        <a:xfrm>
          <a:off x="1766846" y="38273"/>
          <a:ext cx="1853773" cy="1192451"/>
        </a:xfrm>
        <a:prstGeom prst="round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>
          <a:outerShdw blurRad="57785" dist="33020" dir="318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2400" b="0" kern="1200" dirty="0">
              <a:solidFill>
                <a:schemeClr val="tx2"/>
              </a:solidFill>
            </a:rPr>
            <a:t>58.5 MW</a:t>
          </a:r>
          <a:endParaRPr lang="en-US" sz="2400" b="0" kern="1200" dirty="0">
            <a:solidFill>
              <a:schemeClr val="tx2"/>
            </a:solidFill>
          </a:endParaRPr>
        </a:p>
      </dsp:txBody>
      <dsp:txXfrm>
        <a:off x="1825057" y="96484"/>
        <a:ext cx="1737351" cy="1076029"/>
      </dsp:txXfrm>
    </dsp:sp>
    <dsp:sp modelId="{85BFFC5E-2C47-4727-9C3A-5A9D154118E0}">
      <dsp:nvSpPr>
        <dsp:cNvPr id="0" name=""/>
        <dsp:cNvSpPr/>
      </dsp:nvSpPr>
      <dsp:spPr>
        <a:xfrm>
          <a:off x="0" y="1230725"/>
          <a:ext cx="5387467" cy="910800"/>
        </a:xfrm>
        <a:prstGeom prst="rect">
          <a:avLst/>
        </a:prstGeom>
        <a:solidFill>
          <a:srgbClr val="FFFF00"/>
        </a:solidFill>
        <a:ln w="9525" cap="flat" cmpd="sng" algn="ctr">
          <a:solidFill>
            <a:srgbClr val="FFFF0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171052" tIns="20320" rIns="113792" bIns="20320" numCol="1" spcCol="1270" anchor="t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sr-Latn-ME" sz="1600" b="0" i="1" kern="1200" dirty="0">
              <a:solidFill>
                <a:schemeClr val="bg2"/>
              </a:solidFill>
            </a:rPr>
            <a:t>Ugradnja osmog agregata A8 - Povećanje ukupne instalisane snage HE Perućica sa </a:t>
          </a:r>
          <a:r>
            <a:rPr lang="en-US" sz="1600" b="0" i="1" kern="1200" dirty="0">
              <a:solidFill>
                <a:schemeClr val="bg2"/>
              </a:solidFill>
            </a:rPr>
            <a:t>307 MW </a:t>
          </a:r>
          <a:r>
            <a:rPr lang="sr-Latn-ME" sz="1600" b="0" i="1" kern="1200" dirty="0">
              <a:solidFill>
                <a:schemeClr val="bg2"/>
              </a:solidFill>
            </a:rPr>
            <a:t>na</a:t>
          </a:r>
          <a:r>
            <a:rPr lang="en-US" sz="1600" b="0" i="1" kern="1200" dirty="0">
              <a:solidFill>
                <a:schemeClr val="bg2"/>
              </a:solidFill>
            </a:rPr>
            <a:t> 365.5 MW </a:t>
          </a:r>
        </a:p>
      </dsp:txBody>
      <dsp:txXfrm>
        <a:off x="0" y="1230725"/>
        <a:ext cx="5387467" cy="910800"/>
      </dsp:txXfrm>
    </dsp:sp>
    <dsp:sp modelId="{633920E7-22DC-406B-ADA2-6F3B0346F141}">
      <dsp:nvSpPr>
        <dsp:cNvPr id="0" name=""/>
        <dsp:cNvSpPr/>
      </dsp:nvSpPr>
      <dsp:spPr>
        <a:xfrm>
          <a:off x="303826" y="2167646"/>
          <a:ext cx="4849528" cy="1459468"/>
        </a:xfrm>
        <a:prstGeom prst="round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>
          <a:outerShdw blurRad="57785" dist="33020" dir="318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1800" b="0" kern="1200" dirty="0">
              <a:solidFill>
                <a:schemeClr val="tx2"/>
              </a:solidFill>
            </a:rPr>
            <a:t>Vrijednost ukupne investicije cca. €2</a:t>
          </a:r>
          <a:r>
            <a:rPr lang="en-US" sz="1800" b="0" kern="1200" dirty="0">
              <a:solidFill>
                <a:schemeClr val="tx2"/>
              </a:solidFill>
            </a:rPr>
            <a:t>4</a:t>
          </a:r>
          <a:r>
            <a:rPr lang="sr-Latn-ME" sz="1800" b="0" kern="1200" dirty="0">
              <a:solidFill>
                <a:schemeClr val="tx2"/>
              </a:solidFill>
            </a:rPr>
            <a:t>M</a:t>
          </a:r>
          <a:endParaRPr lang="en-US" sz="1800" kern="1200" dirty="0">
            <a:solidFill>
              <a:schemeClr val="tx2"/>
            </a:solidFill>
          </a:endParaRPr>
        </a:p>
      </dsp:txBody>
      <dsp:txXfrm>
        <a:off x="375071" y="2238891"/>
        <a:ext cx="4707038" cy="1316978"/>
      </dsp:txXfrm>
    </dsp:sp>
    <dsp:sp modelId="{54C1F404-D3C6-4F9F-AB63-888000E7C991}">
      <dsp:nvSpPr>
        <dsp:cNvPr id="0" name=""/>
        <dsp:cNvSpPr/>
      </dsp:nvSpPr>
      <dsp:spPr>
        <a:xfrm>
          <a:off x="0" y="3639266"/>
          <a:ext cx="5387467" cy="965894"/>
        </a:xfrm>
        <a:prstGeom prst="rect">
          <a:avLst/>
        </a:prstGeom>
        <a:solidFill>
          <a:srgbClr val="FFFF00"/>
        </a:solidFill>
        <a:ln w="9525" cap="flat" cmpd="sng" algn="ctr">
          <a:solidFill>
            <a:srgbClr val="FFFF0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171052" tIns="20320" rIns="113792" bIns="20320" numCol="1" spcCol="1270" anchor="t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1600" b="0" i="1" kern="1200" dirty="0">
            <a:solidFill>
              <a:schemeClr val="bg2"/>
            </a:solidFill>
          </a:endParaRPr>
        </a:p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sr-Latn-ME" sz="1600" b="0" i="1" kern="1200" dirty="0">
              <a:solidFill>
                <a:schemeClr val="bg2"/>
              </a:solidFill>
            </a:rPr>
            <a:t>Dobijena indikativna ponuda od strane KfW banke</a:t>
          </a:r>
          <a:endParaRPr lang="en-US" sz="1600" b="0" i="1" kern="1200" dirty="0">
            <a:solidFill>
              <a:schemeClr val="bg2"/>
            </a:solidFill>
          </a:endParaRPr>
        </a:p>
      </dsp:txBody>
      <dsp:txXfrm>
        <a:off x="0" y="3639266"/>
        <a:ext cx="5387467" cy="96589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8CF7C7-447B-4A82-A950-49E1103C7027}">
      <dsp:nvSpPr>
        <dsp:cNvPr id="0" name=""/>
        <dsp:cNvSpPr/>
      </dsp:nvSpPr>
      <dsp:spPr>
        <a:xfrm>
          <a:off x="0" y="2381656"/>
          <a:ext cx="3671112" cy="1054455"/>
        </a:xfrm>
        <a:prstGeom prst="round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>
          <a:outerShdw blurRad="57785" dist="33020" dir="318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r-Latn-ME" sz="1800" b="0" kern="1200" dirty="0">
              <a:solidFill>
                <a:schemeClr val="tx2"/>
              </a:solidFill>
            </a:rPr>
            <a:t>Vrijednost ukupne investicije cca. €61M</a:t>
          </a:r>
          <a:endParaRPr lang="en-US" sz="1800" kern="1200" dirty="0">
            <a:solidFill>
              <a:schemeClr val="tx2"/>
            </a:solidFill>
          </a:endParaRPr>
        </a:p>
      </dsp:txBody>
      <dsp:txXfrm>
        <a:off x="51474" y="2433130"/>
        <a:ext cx="3568164" cy="951507"/>
      </dsp:txXfrm>
    </dsp:sp>
    <dsp:sp modelId="{5FD7DC3A-F587-4E70-98E1-B14772C1EC5C}">
      <dsp:nvSpPr>
        <dsp:cNvPr id="0" name=""/>
        <dsp:cNvSpPr/>
      </dsp:nvSpPr>
      <dsp:spPr>
        <a:xfrm>
          <a:off x="0" y="3727098"/>
          <a:ext cx="3671112" cy="537234"/>
        </a:xfrm>
        <a:prstGeom prst="round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>
          <a:outerShdw blurRad="57785" dist="33020" dir="318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kern="1200" dirty="0">
              <a:solidFill>
                <a:schemeClr val="tx2"/>
              </a:solidFill>
            </a:rPr>
            <a:t>E</a:t>
          </a:r>
          <a:r>
            <a:rPr lang="sr-Latn-ME" sz="2200" b="0" kern="1200" dirty="0">
              <a:solidFill>
                <a:schemeClr val="tx2"/>
              </a:solidFill>
            </a:rPr>
            <a:t>BRD – Mandate letter</a:t>
          </a:r>
          <a:endParaRPr lang="en-US" sz="2200" kern="1200" dirty="0">
            <a:solidFill>
              <a:schemeClr val="tx2"/>
            </a:solidFill>
          </a:endParaRPr>
        </a:p>
      </dsp:txBody>
      <dsp:txXfrm>
        <a:off x="26226" y="3753324"/>
        <a:ext cx="3618660" cy="48478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7C5C8D-82CC-4BA3-BE46-9FE972DD8664}">
      <dsp:nvSpPr>
        <dsp:cNvPr id="0" name=""/>
        <dsp:cNvSpPr/>
      </dsp:nvSpPr>
      <dsp:spPr>
        <a:xfrm>
          <a:off x="659322" y="1478586"/>
          <a:ext cx="4305827" cy="1510823"/>
        </a:xfrm>
        <a:prstGeom prst="rect">
          <a:avLst/>
        </a:prstGeom>
        <a:solidFill>
          <a:srgbClr val="FFFF00"/>
        </a:solidFill>
        <a:ln w="9525" cap="flat" cmpd="sng" algn="ctr">
          <a:solidFill>
            <a:srgbClr val="FFFF00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6"/>
        </a:lnRef>
        <a:fillRef idx="2">
          <a:schemeClr val="accent6"/>
        </a:fillRef>
        <a:effectRef idx="1">
          <a:schemeClr val="accent6"/>
        </a:effectRef>
        <a:fontRef idx="minor">
          <a:schemeClr val="dk1"/>
        </a:fontRef>
      </dsp:style>
      <dsp:txBody>
        <a:bodyPr spcFirstLastPara="0" vert="horz" wrap="square" lIns="385351" tIns="499872" rIns="385351" bIns="113792" numCol="1" spcCol="1270" anchor="t" anchorCtr="0">
          <a:noAutofit/>
        </a:bodyPr>
        <a:lstStyle/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sr-Latn-ME" sz="1600" b="0" i="1" kern="1200" dirty="0">
              <a:solidFill>
                <a:schemeClr val="bg2"/>
              </a:solidFill>
            </a:rPr>
            <a:t>uz </a:t>
          </a:r>
          <a:r>
            <a:rPr lang="vi-VN" sz="1600" b="0" i="1" kern="1200" dirty="0">
              <a:solidFill>
                <a:schemeClr val="bg2"/>
              </a:solidFill>
            </a:rPr>
            <a:t>izgradnj</a:t>
          </a:r>
          <a:r>
            <a:rPr lang="sr-Latn-ME" sz="1600" b="0" i="1" kern="1200" dirty="0">
              <a:solidFill>
                <a:schemeClr val="bg2"/>
              </a:solidFill>
            </a:rPr>
            <a:t>u</a:t>
          </a:r>
          <a:r>
            <a:rPr lang="vi-VN" sz="1600" b="0" i="1" kern="1200" dirty="0">
              <a:solidFill>
                <a:schemeClr val="bg2"/>
              </a:solidFill>
            </a:rPr>
            <a:t> tipsk</a:t>
          </a:r>
          <a:r>
            <a:rPr lang="sr-Latn-ME" sz="1600" b="0" i="1" kern="1200" dirty="0">
              <a:solidFill>
                <a:schemeClr val="bg2"/>
              </a:solidFill>
            </a:rPr>
            <a:t>ih</a:t>
          </a:r>
          <a:r>
            <a:rPr lang="vi-VN" sz="1600" b="0" i="1" kern="1200" dirty="0">
              <a:solidFill>
                <a:schemeClr val="bg2"/>
              </a:solidFill>
            </a:rPr>
            <a:t> platoa za montažu v</a:t>
          </a:r>
          <a:r>
            <a:rPr lang="sr-Latn-ME" sz="1600" b="0" i="1" kern="1200" dirty="0">
              <a:solidFill>
                <a:schemeClr val="bg2"/>
              </a:solidFill>
            </a:rPr>
            <a:t>j</a:t>
          </a:r>
          <a:r>
            <a:rPr lang="vi-VN" sz="1600" b="0" i="1" kern="1200" dirty="0">
              <a:solidFill>
                <a:schemeClr val="bg2"/>
              </a:solidFill>
            </a:rPr>
            <a:t>etroturbina i temelja na kojima će se postavljati stubovi v</a:t>
          </a:r>
          <a:r>
            <a:rPr lang="sr-Latn-ME" sz="1600" b="0" i="1" kern="1200" dirty="0">
              <a:solidFill>
                <a:schemeClr val="bg2"/>
              </a:solidFill>
            </a:rPr>
            <a:t>j</a:t>
          </a:r>
          <a:r>
            <a:rPr lang="vi-VN" sz="1600" b="0" i="1" kern="1200" dirty="0">
              <a:solidFill>
                <a:schemeClr val="bg2"/>
              </a:solidFill>
            </a:rPr>
            <a:t>etrogeneratora</a:t>
          </a:r>
          <a:endParaRPr lang="en-US" sz="1600" b="0" i="1" kern="1200" dirty="0">
            <a:solidFill>
              <a:schemeClr val="bg2"/>
            </a:solidFill>
          </a:endParaRPr>
        </a:p>
      </dsp:txBody>
      <dsp:txXfrm>
        <a:off x="659322" y="1478586"/>
        <a:ext cx="4305827" cy="1510823"/>
      </dsp:txXfrm>
    </dsp:sp>
    <dsp:sp modelId="{2638C77D-1114-4EE4-A735-19B8CA96F71D}">
      <dsp:nvSpPr>
        <dsp:cNvPr id="0" name=""/>
        <dsp:cNvSpPr/>
      </dsp:nvSpPr>
      <dsp:spPr>
        <a:xfrm>
          <a:off x="444500" y="826624"/>
          <a:ext cx="3693768" cy="908781"/>
        </a:xfrm>
        <a:prstGeom prst="roundRect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>
          <a:outerShdw blurRad="57785" dist="33020" dir="3180000" algn="ctr" rotWithShape="0">
            <a:srgbClr val="000000">
              <a:alpha val="30000"/>
            </a:srgbClr>
          </a:outerShdw>
        </a:effectLst>
        <a:scene3d>
          <a:camera prst="orthographicFront">
            <a:rot lat="0" lon="0" rev="0"/>
          </a:camera>
          <a:lightRig rig="brightRoom" dir="t">
            <a:rot lat="0" lon="0" rev="600000"/>
          </a:lightRig>
        </a:scene3d>
        <a:sp3d prstMaterial="metal">
          <a:bevelT w="38100" h="57150" prst="angle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1370" tIns="0" rIns="131370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 dirty="0">
              <a:solidFill>
                <a:schemeClr val="tx2"/>
              </a:solidFill>
            </a:rPr>
            <a:t>13 </a:t>
          </a:r>
          <a:r>
            <a:rPr lang="sr-Latn-ME" sz="1800" b="0" kern="1200" dirty="0">
              <a:solidFill>
                <a:schemeClr val="tx2"/>
              </a:solidFill>
            </a:rPr>
            <a:t>vjetroturbina</a:t>
          </a:r>
          <a:r>
            <a:rPr lang="en-GB" sz="1800" b="0" kern="1200" dirty="0">
              <a:solidFill>
                <a:schemeClr val="tx2"/>
              </a:solidFill>
            </a:rPr>
            <a:t>, </a:t>
          </a:r>
          <a:r>
            <a:rPr lang="en-GB" sz="1800" kern="1200" dirty="0">
              <a:solidFill>
                <a:schemeClr val="tx2"/>
              </a:solidFill>
            </a:rPr>
            <a:t>54.6 MW</a:t>
          </a:r>
          <a:r>
            <a:rPr lang="sr-Latn-ME" sz="1800" kern="1200" dirty="0">
              <a:solidFill>
                <a:schemeClr val="tx2"/>
              </a:solidFill>
            </a:rPr>
            <a:t>,</a:t>
          </a:r>
          <a:r>
            <a:rPr lang="en-GB" sz="1800" b="0" kern="1200" dirty="0">
              <a:solidFill>
                <a:schemeClr val="tx2"/>
              </a:solidFill>
            </a:rPr>
            <a:t> </a:t>
          </a:r>
          <a:r>
            <a:rPr lang="en-GB" sz="1800" kern="1200" dirty="0">
              <a:solidFill>
                <a:schemeClr val="tx2"/>
              </a:solidFill>
            </a:rPr>
            <a:t>150 </a:t>
          </a:r>
          <a:r>
            <a:rPr lang="en-GB" sz="1800" kern="1200" dirty="0" err="1">
              <a:solidFill>
                <a:schemeClr val="tx2"/>
              </a:solidFill>
            </a:rPr>
            <a:t>GWh</a:t>
          </a:r>
          <a:r>
            <a:rPr lang="en-GB" sz="1800" kern="1200" dirty="0">
              <a:solidFill>
                <a:schemeClr val="tx2"/>
              </a:solidFill>
            </a:rPr>
            <a:t>/</a:t>
          </a:r>
          <a:r>
            <a:rPr lang="sr-Latn-ME" sz="1800" kern="1200" dirty="0">
              <a:solidFill>
                <a:schemeClr val="tx2"/>
              </a:solidFill>
            </a:rPr>
            <a:t>g</a:t>
          </a:r>
          <a:endParaRPr lang="en-US" sz="1800" kern="1200" dirty="0">
            <a:solidFill>
              <a:schemeClr val="tx2"/>
            </a:solidFill>
          </a:endParaRPr>
        </a:p>
      </dsp:txBody>
      <dsp:txXfrm>
        <a:off x="488863" y="870987"/>
        <a:ext cx="3605042" cy="82005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33F047-647F-4FE4-BCEB-65BF1F338C3C}">
      <dsp:nvSpPr>
        <dsp:cNvPr id="0" name=""/>
        <dsp:cNvSpPr/>
      </dsp:nvSpPr>
      <dsp:spPr>
        <a:xfrm rot="5400000">
          <a:off x="-1843981" y="1874010"/>
          <a:ext cx="5967486" cy="2219466"/>
        </a:xfrm>
        <a:prstGeom prst="chevron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accent1">
              <a:lumMod val="50000"/>
            </a:schemeClr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azna</a:t>
          </a:r>
          <a:r>
            <a:rPr lang="en-US" sz="2000" b="1" kern="1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n-US" sz="2000" b="1" kern="1200" dirty="0" err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zgradnja</a:t>
          </a:r>
          <a:endParaRPr lang="en-US" sz="2000" b="1" kern="1200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</a:t>
          </a:r>
          <a:r>
            <a:rPr lang="en-US" sz="2000" b="1" kern="1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en-US" sz="2000" b="1" kern="1200" dirty="0" err="1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uštanje</a:t>
          </a:r>
          <a:r>
            <a:rPr lang="en-US" sz="2000" b="1" kern="12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u rad</a:t>
          </a:r>
        </a:p>
      </dsp:txBody>
      <dsp:txXfrm rot="-5400000">
        <a:off x="30029" y="1109733"/>
        <a:ext cx="2219466" cy="3748020"/>
      </dsp:txXfrm>
    </dsp:sp>
    <dsp:sp modelId="{CAFE7628-7677-42D9-9989-22F389F1AAAC}">
      <dsp:nvSpPr>
        <dsp:cNvPr id="0" name=""/>
        <dsp:cNvSpPr/>
      </dsp:nvSpPr>
      <dsp:spPr>
        <a:xfrm rot="5400000">
          <a:off x="1455188" y="764277"/>
          <a:ext cx="4857753" cy="3329198"/>
        </a:xfrm>
        <a:prstGeom prst="round2SameRect">
          <a:avLst/>
        </a:prstGeom>
        <a:solidFill>
          <a:srgbClr val="FFFF00">
            <a:alpha val="90000"/>
          </a:srgbClr>
        </a:solidFill>
        <a:ln w="25400" cap="flat" cmpd="sng" algn="ctr">
          <a:solidFill>
            <a:srgbClr val="FFFF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9525" rIns="9525" bIns="95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sr-Latn-ME" sz="1500" kern="1200" dirty="0"/>
            <a:t>Ukupno 13 vjetroagregata uz izgradnju tipskih platoa za montažu vjetroagregata i temelja na koje će se postaviti stubovi vjetroagregata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sr-Latn-ME" sz="1500" kern="1200" dirty="0"/>
            <a:t>Transformatorska stanica 110/33 kV Gvozd na projektnoj lokaciji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sr-Latn-ME" sz="1500" kern="1200" dirty="0"/>
            <a:t>Rekonstrukcija transformatorske stanice 110/33 kV Krnovo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sr-Latn-ME" sz="1500" kern="1200" dirty="0"/>
            <a:t>Izgradnja jednostrukog dalekovoda 110 kV TS Gvozd - TS Krnovo, dužine 3125 m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sr-Latn-ME" sz="1500" kern="1200" dirty="0"/>
            <a:t>Izgradnja jednostrukog dalekovoda 110 kV TS Gvozd - TS Nikšić, dužine 14730 m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sr-Latn-ME" sz="1500" kern="1200" dirty="0"/>
            <a:t>Rekonstrukcija transformatorske stanice 110/35 kV Nikšić</a:t>
          </a:r>
          <a:endParaRPr lang="en-US" sz="1500" kern="1200" dirty="0"/>
        </a:p>
      </dsp:txBody>
      <dsp:txXfrm rot="-5400000">
        <a:off x="2219465" y="162518"/>
        <a:ext cx="3166680" cy="45327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027432" cy="35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78" tIns="46089" rIns="92178" bIns="46089" numCol="1" anchor="t" anchorCtr="0" compatLnSpc="1">
            <a:prstTxWarp prst="textNoShape">
              <a:avLst/>
            </a:prstTxWarp>
          </a:bodyPr>
          <a:lstStyle>
            <a:lvl1pPr defTabSz="922078">
              <a:defRPr sz="13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376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266087" y="1"/>
            <a:ext cx="4028873" cy="35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78" tIns="46089" rIns="92178" bIns="46089" numCol="1" anchor="t" anchorCtr="0" compatLnSpc="1">
            <a:prstTxWarp prst="textNoShape">
              <a:avLst/>
            </a:prstTxWarp>
          </a:bodyPr>
          <a:lstStyle>
            <a:lvl1pPr algn="r" defTabSz="922078">
              <a:defRPr sz="13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376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657686"/>
            <a:ext cx="4027432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78" tIns="46089" rIns="92178" bIns="46089" numCol="1" anchor="b" anchorCtr="0" compatLnSpc="1">
            <a:prstTxWarp prst="textNoShape">
              <a:avLst/>
            </a:prstTxWarp>
          </a:bodyPr>
          <a:lstStyle>
            <a:lvl1pPr defTabSz="922078">
              <a:defRPr sz="13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376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266087" y="6657686"/>
            <a:ext cx="4028873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78" tIns="46089" rIns="92178" bIns="46089" numCol="1" anchor="b" anchorCtr="0" compatLnSpc="1">
            <a:prstTxWarp prst="textNoShape">
              <a:avLst/>
            </a:prstTxWarp>
          </a:bodyPr>
          <a:lstStyle>
            <a:lvl1pPr algn="r" defTabSz="922078">
              <a:defRPr sz="13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D4675E8B-4A71-4DF3-A56A-00D98552DA8F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5794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4027432" cy="35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78" tIns="46089" rIns="92178" bIns="46089" numCol="1" anchor="t" anchorCtr="0" compatLnSpc="1">
            <a:prstTxWarp prst="textNoShape">
              <a:avLst/>
            </a:prstTxWarp>
          </a:bodyPr>
          <a:lstStyle>
            <a:lvl1pPr defTabSz="922078" eaLnBrk="0" hangingPunct="0">
              <a:defRPr sz="13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266087" y="1"/>
            <a:ext cx="4028873" cy="35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78" tIns="46089" rIns="92178" bIns="46089" numCol="1" anchor="t" anchorCtr="0" compatLnSpc="1">
            <a:prstTxWarp prst="textNoShape">
              <a:avLst/>
            </a:prstTxWarp>
          </a:bodyPr>
          <a:lstStyle>
            <a:lvl1pPr algn="r" defTabSz="922078" eaLnBrk="0" hangingPunct="0">
              <a:defRPr sz="13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765425" y="525463"/>
            <a:ext cx="3765550" cy="26273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8631" y="3331196"/>
            <a:ext cx="7439139" cy="3154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78" tIns="46089" rIns="92178" bIns="460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/>
              <a:t>Click to edit Master text styles</a:t>
            </a:r>
          </a:p>
          <a:p>
            <a:pPr lvl="1"/>
            <a:r>
              <a:rPr lang="it-IT" noProof="0"/>
              <a:t>Second level</a:t>
            </a:r>
          </a:p>
          <a:p>
            <a:pPr lvl="2"/>
            <a:r>
              <a:rPr lang="it-IT" noProof="0"/>
              <a:t>Third level</a:t>
            </a:r>
          </a:p>
          <a:p>
            <a:pPr lvl="3"/>
            <a:r>
              <a:rPr lang="it-IT" noProof="0"/>
              <a:t>Fourth level</a:t>
            </a:r>
          </a:p>
          <a:p>
            <a:pPr lvl="4"/>
            <a:r>
              <a:rPr lang="it-IT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657686"/>
            <a:ext cx="4027432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78" tIns="46089" rIns="92178" bIns="46089" numCol="1" anchor="b" anchorCtr="0" compatLnSpc="1">
            <a:prstTxWarp prst="textNoShape">
              <a:avLst/>
            </a:prstTxWarp>
          </a:bodyPr>
          <a:lstStyle>
            <a:lvl1pPr defTabSz="922078" eaLnBrk="0" hangingPunct="0">
              <a:defRPr sz="13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266087" y="6657686"/>
            <a:ext cx="4028873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78" tIns="46089" rIns="92178" bIns="46089" numCol="1" anchor="b" anchorCtr="0" compatLnSpc="1">
            <a:prstTxWarp prst="textNoShape">
              <a:avLst/>
            </a:prstTxWarp>
          </a:bodyPr>
          <a:lstStyle>
            <a:lvl1pPr algn="r" defTabSz="922078" eaLnBrk="0" hangingPunct="0">
              <a:defRPr sz="13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D20DAF3F-C7CD-4586-84DA-0D9AE37B1ADB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50037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79425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5885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438275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9177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398243" algn="l" defTabSz="95929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7891" algn="l" defTabSz="95929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7540" algn="l" defTabSz="95929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7188" algn="l" defTabSz="95929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5141"/>
            <a:fld id="{F42DA2C5-02DD-44EC-9305-6321EC85F5D7}" type="slidenum">
              <a:rPr lang="it-IT" smtClean="0">
                <a:ea typeface="ヒラギノ角ゴ Pro W3"/>
                <a:cs typeface="ヒラギノ角ゴ Pro W3"/>
              </a:rPr>
              <a:pPr defTabSz="925141"/>
              <a:t>1</a:t>
            </a:fld>
            <a:endParaRPr lang="it-IT">
              <a:ea typeface="ヒラギノ角ゴ Pro W3"/>
              <a:cs typeface="ヒラギノ角ゴ Pro W3"/>
            </a:endParaRPr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96932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0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1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09564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2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332490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3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525354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4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904820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5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6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7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8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19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509533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0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3581735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1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861506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2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48424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3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4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5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5577980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6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7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416983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622453" y="6455664"/>
            <a:ext cx="4304232" cy="340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8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7438" y="317500"/>
            <a:ext cx="7986712" cy="5570538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35619" y="5902366"/>
            <a:ext cx="9498571" cy="924192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7064984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29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68548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3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0735747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30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5378028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31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1228105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32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0004900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5141"/>
            <a:fld id="{F42DA2C5-02DD-44EC-9305-6321EC85F5D7}" type="slidenum">
              <a:rPr lang="it-IT" smtClean="0">
                <a:ea typeface="ヒラギノ角ゴ Pro W3"/>
                <a:cs typeface="ヒラギノ角ゴ Pro W3"/>
              </a:rPr>
              <a:pPr defTabSz="925141"/>
              <a:t>33</a:t>
            </a:fld>
            <a:endParaRPr lang="it-IT">
              <a:ea typeface="ヒラギノ角ゴ Pro W3"/>
              <a:cs typeface="ヒラギノ角ゴ Pro W3"/>
            </a:endParaRPr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96932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4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507840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5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377415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6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796515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7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6724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8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148252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5264644" y="6657686"/>
            <a:ext cx="4030314" cy="351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484" tIns="46241" rIns="92484" bIns="46241" anchor="b"/>
          <a:lstStyle/>
          <a:p>
            <a:pPr algn="r" defTabSz="925141" eaLnBrk="0" hangingPunct="0">
              <a:spcBef>
                <a:spcPct val="20000"/>
              </a:spcBef>
            </a:pPr>
            <a:fld id="{6D9D01C0-71AF-4DF8-9585-16483DAEA4FE}" type="slidenum">
              <a:rPr lang="it-IT" sz="1300" b="0">
                <a:latin typeface="Arial" charset="0"/>
              </a:rPr>
              <a:pPr algn="r" defTabSz="925141" eaLnBrk="0" hangingPunct="0">
                <a:spcBef>
                  <a:spcPct val="20000"/>
                </a:spcBef>
              </a:pPr>
              <a:t>9</a:t>
            </a:fld>
            <a:endParaRPr lang="it-IT" sz="1300" b="0">
              <a:latin typeface="Arial" charset="0"/>
            </a:endParaRPr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38175" y="327025"/>
            <a:ext cx="8237538" cy="5745163"/>
          </a:xfrm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0625" y="6087074"/>
            <a:ext cx="8894089" cy="953113"/>
          </a:xfrm>
          <a:noFill/>
          <a:ln/>
        </p:spPr>
        <p:txBody>
          <a:bodyPr/>
          <a:lstStyle/>
          <a:p>
            <a:pPr eaLnBrk="1" hangingPunct="1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7088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esentation Title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84213" y="4137025"/>
            <a:ext cx="5994400" cy="690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6" tIns="46474" rIns="92946" bIns="46474" anchor="b"/>
          <a:lstStyle/>
          <a:p>
            <a:pPr defTabSz="924323" eaLnBrk="0" hangingPunct="0">
              <a:spcBef>
                <a:spcPct val="20000"/>
              </a:spcBef>
              <a:defRPr/>
            </a:pPr>
            <a:endParaRPr lang="it-IT" sz="3400" dirty="0">
              <a:ea typeface="ヒラギノ角ゴ Pro W3" pitchFamily="84" charset="-128"/>
              <a:cs typeface="+mn-cs"/>
            </a:endParaRPr>
          </a:p>
        </p:txBody>
      </p:sp>
      <p:sp>
        <p:nvSpPr>
          <p:cNvPr id="5" name="Sub Title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84213" y="5207000"/>
            <a:ext cx="6407150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61" tIns="45381" rIns="90761" bIns="45381"/>
          <a:lstStyle/>
          <a:p>
            <a:pPr defTabSz="980948" eaLnBrk="0" hangingPunct="0">
              <a:spcBef>
                <a:spcPct val="20000"/>
              </a:spcBef>
              <a:buClr>
                <a:schemeClr val="tx1"/>
              </a:buClr>
              <a:buFont typeface="Verdana" pitchFamily="34" charset="0"/>
              <a:buNone/>
              <a:defRPr/>
            </a:pPr>
            <a:endParaRPr lang="it-IT" b="0" dirty="0">
              <a:ea typeface="ヒラギノ角ゴ Pro W3" pitchFamily="84" charset="-128"/>
              <a:cs typeface="+mn-cs"/>
            </a:endParaRPr>
          </a:p>
        </p:txBody>
      </p:sp>
      <p:pic>
        <p:nvPicPr>
          <p:cNvPr id="6" name="Picture 7" descr="epcg-naslovni ppt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380663" cy="7215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0" name="Presentation Title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5541139" y="2415348"/>
            <a:ext cx="4159589" cy="622375"/>
          </a:xfrm>
        </p:spPr>
        <p:txBody>
          <a:bodyPr>
            <a:spAutoFit/>
          </a:bodyPr>
          <a:lstStyle>
            <a:lvl1pPr>
              <a:defRPr sz="3400" noProof="1"/>
            </a:lvl1pPr>
          </a:lstStyle>
          <a:p>
            <a:endParaRPr lang="it-IT" noProof="1"/>
          </a:p>
        </p:txBody>
      </p:sp>
      <p:sp>
        <p:nvSpPr>
          <p:cNvPr id="2051" name="Sub Title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541139" y="3230090"/>
            <a:ext cx="4159589" cy="481753"/>
          </a:xfrm>
        </p:spPr>
        <p:txBody>
          <a:bodyPr tIns="49098" bIns="49098">
            <a:spAutoFit/>
          </a:bodyPr>
          <a:lstStyle>
            <a:lvl1pPr marL="0" indent="0">
              <a:lnSpc>
                <a:spcPct val="100000"/>
              </a:lnSpc>
              <a:spcBef>
                <a:spcPct val="0"/>
              </a:spcBef>
              <a:buFontTx/>
              <a:buNone/>
              <a:defRPr noProof="1"/>
            </a:lvl1pPr>
          </a:lstStyle>
          <a:p>
            <a:endParaRPr lang="it-IT" noProof="1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DFA15E-BCB6-4837-B232-83FF2D2220CE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467336" y="341242"/>
            <a:ext cx="2396122" cy="588140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8967" y="341242"/>
            <a:ext cx="7028960" cy="588140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1AB1A6-F9A9-4ED2-861E-52FCEBAC808C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967" y="341242"/>
            <a:ext cx="9581171" cy="4834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38007" y="1226129"/>
            <a:ext cx="9325452" cy="4996518"/>
          </a:xfrm>
        </p:spPr>
        <p:txBody>
          <a:bodyPr lIns="49098" tIns="47965" rIns="49098" bIns="47965"/>
          <a:lstStyle/>
          <a:p>
            <a:pPr lvl="0"/>
            <a:endParaRPr lang="it-IT" noProof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6BF952-2F2D-4EF0-953B-E4B2414FA708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39972" y="6829425"/>
            <a:ext cx="450850" cy="2507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FF355D-FBE5-43A8-8572-C0DA41656568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8111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475024"/>
            <a:ext cx="7833271" cy="2276253"/>
          </a:xfrm>
        </p:spPr>
        <p:txBody>
          <a:bodyPr anchor="t" anchorCtr="0"/>
          <a:lstStyle>
            <a:lvl1pPr algn="l">
              <a:defRPr sz="425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564026"/>
            <a:ext cx="7833271" cy="759744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8648541" y="6096570"/>
            <a:ext cx="1346343" cy="962691"/>
            <a:chOff x="10176312" y="5785848"/>
            <a:chExt cx="1584176" cy="913626"/>
          </a:xfrm>
        </p:grpSpPr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0297850" y="6211927"/>
              <a:ext cx="1462638" cy="487547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0176312" y="5785848"/>
              <a:ext cx="730621" cy="426079"/>
            </a:xfrm>
            <a:custGeom>
              <a:avLst/>
              <a:gdLst>
                <a:gd name="T0" fmla="*/ 0 w 5232"/>
                <a:gd name="T1" fmla="*/ 3051 h 3051"/>
                <a:gd name="T2" fmla="*/ 653 w 5232"/>
                <a:gd name="T3" fmla="*/ 3051 h 3051"/>
                <a:gd name="T4" fmla="*/ 1307 w 5232"/>
                <a:gd name="T5" fmla="*/ 3051 h 3051"/>
                <a:gd name="T6" fmla="*/ 1962 w 5232"/>
                <a:gd name="T7" fmla="*/ 3051 h 3051"/>
                <a:gd name="T8" fmla="*/ 2616 w 5232"/>
                <a:gd name="T9" fmla="*/ 3051 h 3051"/>
                <a:gd name="T10" fmla="*/ 3269 w 5232"/>
                <a:gd name="T11" fmla="*/ 3051 h 3051"/>
                <a:gd name="T12" fmla="*/ 3923 w 5232"/>
                <a:gd name="T13" fmla="*/ 3051 h 3051"/>
                <a:gd name="T14" fmla="*/ 4578 w 5232"/>
                <a:gd name="T15" fmla="*/ 3051 h 3051"/>
                <a:gd name="T16" fmla="*/ 5232 w 5232"/>
                <a:gd name="T17" fmla="*/ 3051 h 3051"/>
                <a:gd name="T18" fmla="*/ 5232 w 5232"/>
                <a:gd name="T19" fmla="*/ 2288 h 3051"/>
                <a:gd name="T20" fmla="*/ 5232 w 5232"/>
                <a:gd name="T21" fmla="*/ 1525 h 3051"/>
                <a:gd name="T22" fmla="*/ 5232 w 5232"/>
                <a:gd name="T23" fmla="*/ 762 h 3051"/>
                <a:gd name="T24" fmla="*/ 5232 w 5232"/>
                <a:gd name="T25" fmla="*/ 0 h 3051"/>
                <a:gd name="T26" fmla="*/ 4578 w 5232"/>
                <a:gd name="T27" fmla="*/ 0 h 3051"/>
                <a:gd name="T28" fmla="*/ 3923 w 5232"/>
                <a:gd name="T29" fmla="*/ 0 h 3051"/>
                <a:gd name="T30" fmla="*/ 3269 w 5232"/>
                <a:gd name="T31" fmla="*/ 0 h 3051"/>
                <a:gd name="T32" fmla="*/ 2616 w 5232"/>
                <a:gd name="T33" fmla="*/ 0 h 3051"/>
                <a:gd name="T34" fmla="*/ 1962 w 5232"/>
                <a:gd name="T35" fmla="*/ 0 h 3051"/>
                <a:gd name="T36" fmla="*/ 1307 w 5232"/>
                <a:gd name="T37" fmla="*/ 0 h 3051"/>
                <a:gd name="T38" fmla="*/ 653 w 5232"/>
                <a:gd name="T39" fmla="*/ 0 h 3051"/>
                <a:gd name="T40" fmla="*/ 0 w 5232"/>
                <a:gd name="T41" fmla="*/ 0 h 3051"/>
                <a:gd name="T42" fmla="*/ 0 w 5232"/>
                <a:gd name="T43" fmla="*/ 762 h 3051"/>
                <a:gd name="T44" fmla="*/ 0 w 5232"/>
                <a:gd name="T45" fmla="*/ 1525 h 3051"/>
                <a:gd name="T46" fmla="*/ 0 w 5232"/>
                <a:gd name="T47" fmla="*/ 2288 h 3051"/>
                <a:gd name="T48" fmla="*/ 0 w 5232"/>
                <a:gd name="T49" fmla="*/ 3051 h 3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32" h="3051">
                  <a:moveTo>
                    <a:pt x="0" y="3051"/>
                  </a:moveTo>
                  <a:lnTo>
                    <a:pt x="653" y="3051"/>
                  </a:lnTo>
                  <a:lnTo>
                    <a:pt x="1307" y="3051"/>
                  </a:lnTo>
                  <a:lnTo>
                    <a:pt x="1962" y="3051"/>
                  </a:lnTo>
                  <a:lnTo>
                    <a:pt x="2616" y="3051"/>
                  </a:lnTo>
                  <a:lnTo>
                    <a:pt x="3269" y="3051"/>
                  </a:lnTo>
                  <a:lnTo>
                    <a:pt x="3923" y="3051"/>
                  </a:lnTo>
                  <a:lnTo>
                    <a:pt x="4578" y="3051"/>
                  </a:lnTo>
                  <a:lnTo>
                    <a:pt x="5232" y="3051"/>
                  </a:lnTo>
                  <a:lnTo>
                    <a:pt x="5232" y="2288"/>
                  </a:lnTo>
                  <a:lnTo>
                    <a:pt x="5232" y="1525"/>
                  </a:lnTo>
                  <a:lnTo>
                    <a:pt x="5232" y="762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762"/>
                  </a:lnTo>
                  <a:lnTo>
                    <a:pt x="0" y="1525"/>
                  </a:lnTo>
                  <a:lnTo>
                    <a:pt x="0" y="2288"/>
                  </a:lnTo>
                  <a:lnTo>
                    <a:pt x="0" y="3051"/>
                  </a:lnTo>
                  <a:close/>
                </a:path>
              </a:pathLst>
            </a:custGeom>
            <a:solidFill>
              <a:srgbClr val="377A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10293658" y="5873858"/>
              <a:ext cx="491737" cy="272412"/>
            </a:xfrm>
            <a:custGeom>
              <a:avLst/>
              <a:gdLst>
                <a:gd name="T0" fmla="*/ 278 w 3517"/>
                <a:gd name="T1" fmla="*/ 1564 h 1954"/>
                <a:gd name="T2" fmla="*/ 190 w 3517"/>
                <a:gd name="T3" fmla="*/ 1377 h 1954"/>
                <a:gd name="T4" fmla="*/ 466 w 3517"/>
                <a:gd name="T5" fmla="*/ 1198 h 1954"/>
                <a:gd name="T6" fmla="*/ 105 w 3517"/>
                <a:gd name="T7" fmla="*/ 1218 h 1954"/>
                <a:gd name="T8" fmla="*/ 22 w 3517"/>
                <a:gd name="T9" fmla="*/ 1558 h 1954"/>
                <a:gd name="T10" fmla="*/ 508 w 3517"/>
                <a:gd name="T11" fmla="*/ 903 h 1954"/>
                <a:gd name="T12" fmla="*/ 824 w 3517"/>
                <a:gd name="T13" fmla="*/ 1318 h 1954"/>
                <a:gd name="T14" fmla="*/ 1034 w 3517"/>
                <a:gd name="T15" fmla="*/ 1269 h 1954"/>
                <a:gd name="T16" fmla="*/ 800 w 3517"/>
                <a:gd name="T17" fmla="*/ 1165 h 1954"/>
                <a:gd name="T18" fmla="*/ 1476 w 3517"/>
                <a:gd name="T19" fmla="*/ 1679 h 1954"/>
                <a:gd name="T20" fmla="*/ 1372 w 3517"/>
                <a:gd name="T21" fmla="*/ 1161 h 1954"/>
                <a:gd name="T22" fmla="*/ 1104 w 3517"/>
                <a:gd name="T23" fmla="*/ 1333 h 1954"/>
                <a:gd name="T24" fmla="*/ 1201 w 3517"/>
                <a:gd name="T25" fmla="*/ 1684 h 1954"/>
                <a:gd name="T26" fmla="*/ 1288 w 3517"/>
                <a:gd name="T27" fmla="*/ 1514 h 1954"/>
                <a:gd name="T28" fmla="*/ 1370 w 3517"/>
                <a:gd name="T29" fmla="*/ 1318 h 1954"/>
                <a:gd name="T30" fmla="*/ 1506 w 3517"/>
                <a:gd name="T31" fmla="*/ 1482 h 1954"/>
                <a:gd name="T32" fmla="*/ 1977 w 3517"/>
                <a:gd name="T33" fmla="*/ 1198 h 1954"/>
                <a:gd name="T34" fmla="*/ 1980 w 3517"/>
                <a:gd name="T35" fmla="*/ 1323 h 1954"/>
                <a:gd name="T36" fmla="*/ 2300 w 3517"/>
                <a:gd name="T37" fmla="*/ 1364 h 1954"/>
                <a:gd name="T38" fmla="*/ 2142 w 3517"/>
                <a:gd name="T39" fmla="*/ 1162 h 1954"/>
                <a:gd name="T40" fmla="*/ 2902 w 3517"/>
                <a:gd name="T41" fmla="*/ 1848 h 1954"/>
                <a:gd name="T42" fmla="*/ 2659 w 3517"/>
                <a:gd name="T43" fmla="*/ 1168 h 1954"/>
                <a:gd name="T44" fmla="*/ 2361 w 3517"/>
                <a:gd name="T45" fmla="*/ 1305 h 1954"/>
                <a:gd name="T46" fmla="*/ 2418 w 3517"/>
                <a:gd name="T47" fmla="*/ 1656 h 1954"/>
                <a:gd name="T48" fmla="*/ 2734 w 3517"/>
                <a:gd name="T49" fmla="*/ 1666 h 1954"/>
                <a:gd name="T50" fmla="*/ 2605 w 3517"/>
                <a:gd name="T51" fmla="*/ 1790 h 1954"/>
                <a:gd name="T52" fmla="*/ 2549 w 3517"/>
                <a:gd name="T53" fmla="*/ 1532 h 1954"/>
                <a:gd name="T54" fmla="*/ 2599 w 3517"/>
                <a:gd name="T55" fmla="*/ 1323 h 1954"/>
                <a:gd name="T56" fmla="*/ 2756 w 3517"/>
                <a:gd name="T57" fmla="*/ 1468 h 1954"/>
                <a:gd name="T58" fmla="*/ 3141 w 3517"/>
                <a:gd name="T59" fmla="*/ 1179 h 1954"/>
                <a:gd name="T60" fmla="*/ 2975 w 3517"/>
                <a:gd name="T61" fmla="*/ 1475 h 1954"/>
                <a:gd name="T62" fmla="*/ 3206 w 3517"/>
                <a:gd name="T63" fmla="*/ 1719 h 1954"/>
                <a:gd name="T64" fmla="*/ 3308 w 3517"/>
                <a:gd name="T65" fmla="*/ 1577 h 1954"/>
                <a:gd name="T66" fmla="*/ 3512 w 3517"/>
                <a:gd name="T67" fmla="*/ 1376 h 1954"/>
                <a:gd name="T68" fmla="*/ 3284 w 3517"/>
                <a:gd name="T69" fmla="*/ 1161 h 1954"/>
                <a:gd name="T70" fmla="*/ 3150 w 3517"/>
                <a:gd name="T71" fmla="*/ 1336 h 1954"/>
                <a:gd name="T72" fmla="*/ 253 w 3517"/>
                <a:gd name="T73" fmla="*/ 744 h 1954"/>
                <a:gd name="T74" fmla="*/ 99 w 3517"/>
                <a:gd name="T75" fmla="*/ 630 h 1954"/>
                <a:gd name="T76" fmla="*/ 854 w 3517"/>
                <a:gd name="T77" fmla="*/ 734 h 1954"/>
                <a:gd name="T78" fmla="*/ 486 w 3517"/>
                <a:gd name="T79" fmla="*/ 790 h 1954"/>
                <a:gd name="T80" fmla="*/ 341 w 3517"/>
                <a:gd name="T81" fmla="*/ 463 h 1954"/>
                <a:gd name="T82" fmla="*/ 630 w 3517"/>
                <a:gd name="T83" fmla="*/ 255 h 1954"/>
                <a:gd name="T84" fmla="*/ 920 w 3517"/>
                <a:gd name="T85" fmla="*/ 463 h 1954"/>
                <a:gd name="T86" fmla="*/ 643 w 3517"/>
                <a:gd name="T87" fmla="*/ 662 h 1954"/>
                <a:gd name="T88" fmla="*/ 733 w 3517"/>
                <a:gd name="T89" fmla="*/ 465 h 1954"/>
                <a:gd name="T90" fmla="*/ 516 w 3517"/>
                <a:gd name="T91" fmla="*/ 488 h 1954"/>
                <a:gd name="T92" fmla="*/ 1555 w 3517"/>
                <a:gd name="T93" fmla="*/ 440 h 1954"/>
                <a:gd name="T94" fmla="*/ 1383 w 3517"/>
                <a:gd name="T95" fmla="*/ 484 h 1954"/>
                <a:gd name="T96" fmla="*/ 1550 w 3517"/>
                <a:gd name="T97" fmla="*/ 255 h 1954"/>
                <a:gd name="T98" fmla="*/ 1745 w 3517"/>
                <a:gd name="T99" fmla="*/ 422 h 1954"/>
                <a:gd name="T100" fmla="*/ 2184 w 3517"/>
                <a:gd name="T101" fmla="*/ 799 h 1954"/>
                <a:gd name="T102" fmla="*/ 2062 w 3517"/>
                <a:gd name="T103" fmla="*/ 60 h 1954"/>
                <a:gd name="T104" fmla="*/ 2760 w 3517"/>
                <a:gd name="T105" fmla="*/ 258 h 1954"/>
                <a:gd name="T106" fmla="*/ 2927 w 3517"/>
                <a:gd name="T107" fmla="*/ 448 h 1954"/>
                <a:gd name="T108" fmla="*/ 2627 w 3517"/>
                <a:gd name="T109" fmla="*/ 412 h 1954"/>
                <a:gd name="T110" fmla="*/ 3128 w 3517"/>
                <a:gd name="T111" fmla="*/ 592 h 1954"/>
                <a:gd name="T112" fmla="*/ 3386 w 3517"/>
                <a:gd name="T113" fmla="*/ 645 h 1954"/>
                <a:gd name="T114" fmla="*/ 3124 w 3517"/>
                <a:gd name="T115" fmla="*/ 796 h 1954"/>
                <a:gd name="T116" fmla="*/ 2965 w 3517"/>
                <a:gd name="T117" fmla="*/ 492 h 1954"/>
                <a:gd name="T118" fmla="*/ 3213 w 3517"/>
                <a:gd name="T119" fmla="*/ 258 h 1954"/>
                <a:gd name="T120" fmla="*/ 3483 w 3517"/>
                <a:gd name="T121" fmla="*/ 402 h 1954"/>
                <a:gd name="T122" fmla="*/ 3257 w 3517"/>
                <a:gd name="T123" fmla="*/ 38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17" h="1954">
                  <a:moveTo>
                    <a:pt x="296" y="1724"/>
                  </a:moveTo>
                  <a:lnTo>
                    <a:pt x="309" y="1724"/>
                  </a:lnTo>
                  <a:lnTo>
                    <a:pt x="322" y="1724"/>
                  </a:lnTo>
                  <a:lnTo>
                    <a:pt x="336" y="1723"/>
                  </a:lnTo>
                  <a:lnTo>
                    <a:pt x="349" y="1720"/>
                  </a:lnTo>
                  <a:lnTo>
                    <a:pt x="361" y="1719"/>
                  </a:lnTo>
                  <a:lnTo>
                    <a:pt x="373" y="1717"/>
                  </a:lnTo>
                  <a:lnTo>
                    <a:pt x="398" y="1710"/>
                  </a:lnTo>
                  <a:lnTo>
                    <a:pt x="421" y="1704"/>
                  </a:lnTo>
                  <a:lnTo>
                    <a:pt x="432" y="1699"/>
                  </a:lnTo>
                  <a:lnTo>
                    <a:pt x="443" y="1695"/>
                  </a:lnTo>
                  <a:lnTo>
                    <a:pt x="466" y="1684"/>
                  </a:lnTo>
                  <a:lnTo>
                    <a:pt x="487" y="1673"/>
                  </a:lnTo>
                  <a:lnTo>
                    <a:pt x="416" y="1534"/>
                  </a:lnTo>
                  <a:lnTo>
                    <a:pt x="403" y="1540"/>
                  </a:lnTo>
                  <a:lnTo>
                    <a:pt x="391" y="1547"/>
                  </a:lnTo>
                  <a:lnTo>
                    <a:pt x="379" y="1553"/>
                  </a:lnTo>
                  <a:lnTo>
                    <a:pt x="372" y="1555"/>
                  </a:lnTo>
                  <a:lnTo>
                    <a:pt x="366" y="1557"/>
                  </a:lnTo>
                  <a:lnTo>
                    <a:pt x="351" y="1560"/>
                  </a:lnTo>
                  <a:lnTo>
                    <a:pt x="343" y="1563"/>
                  </a:lnTo>
                  <a:lnTo>
                    <a:pt x="336" y="1564"/>
                  </a:lnTo>
                  <a:lnTo>
                    <a:pt x="328" y="1565"/>
                  </a:lnTo>
                  <a:lnTo>
                    <a:pt x="320" y="1565"/>
                  </a:lnTo>
                  <a:lnTo>
                    <a:pt x="303" y="1566"/>
                  </a:lnTo>
                  <a:lnTo>
                    <a:pt x="290" y="1565"/>
                  </a:lnTo>
                  <a:lnTo>
                    <a:pt x="278" y="1564"/>
                  </a:lnTo>
                  <a:lnTo>
                    <a:pt x="266" y="1560"/>
                  </a:lnTo>
                  <a:lnTo>
                    <a:pt x="253" y="1557"/>
                  </a:lnTo>
                  <a:lnTo>
                    <a:pt x="242" y="1553"/>
                  </a:lnTo>
                  <a:lnTo>
                    <a:pt x="232" y="1547"/>
                  </a:lnTo>
                  <a:lnTo>
                    <a:pt x="222" y="1540"/>
                  </a:lnTo>
                  <a:lnTo>
                    <a:pt x="217" y="1537"/>
                  </a:lnTo>
                  <a:lnTo>
                    <a:pt x="212" y="1534"/>
                  </a:lnTo>
                  <a:lnTo>
                    <a:pt x="203" y="1525"/>
                  </a:lnTo>
                  <a:lnTo>
                    <a:pt x="197" y="1516"/>
                  </a:lnTo>
                  <a:lnTo>
                    <a:pt x="192" y="1510"/>
                  </a:lnTo>
                  <a:lnTo>
                    <a:pt x="190" y="1505"/>
                  </a:lnTo>
                  <a:lnTo>
                    <a:pt x="183" y="1495"/>
                  </a:lnTo>
                  <a:lnTo>
                    <a:pt x="181" y="1488"/>
                  </a:lnTo>
                  <a:lnTo>
                    <a:pt x="179" y="1483"/>
                  </a:lnTo>
                  <a:lnTo>
                    <a:pt x="178" y="1476"/>
                  </a:lnTo>
                  <a:lnTo>
                    <a:pt x="176" y="1469"/>
                  </a:lnTo>
                  <a:lnTo>
                    <a:pt x="175" y="1463"/>
                  </a:lnTo>
                  <a:lnTo>
                    <a:pt x="175" y="1456"/>
                  </a:lnTo>
                  <a:lnTo>
                    <a:pt x="173" y="1449"/>
                  </a:lnTo>
                  <a:lnTo>
                    <a:pt x="173" y="1442"/>
                  </a:lnTo>
                  <a:lnTo>
                    <a:pt x="173" y="1434"/>
                  </a:lnTo>
                  <a:lnTo>
                    <a:pt x="175" y="1427"/>
                  </a:lnTo>
                  <a:lnTo>
                    <a:pt x="176" y="1414"/>
                  </a:lnTo>
                  <a:lnTo>
                    <a:pt x="178" y="1407"/>
                  </a:lnTo>
                  <a:lnTo>
                    <a:pt x="179" y="1401"/>
                  </a:lnTo>
                  <a:lnTo>
                    <a:pt x="183" y="1388"/>
                  </a:lnTo>
                  <a:lnTo>
                    <a:pt x="190" y="1377"/>
                  </a:lnTo>
                  <a:lnTo>
                    <a:pt x="192" y="1373"/>
                  </a:lnTo>
                  <a:lnTo>
                    <a:pt x="197" y="1367"/>
                  </a:lnTo>
                  <a:lnTo>
                    <a:pt x="200" y="1363"/>
                  </a:lnTo>
                  <a:lnTo>
                    <a:pt x="203" y="1358"/>
                  </a:lnTo>
                  <a:lnTo>
                    <a:pt x="208" y="1354"/>
                  </a:lnTo>
                  <a:lnTo>
                    <a:pt x="212" y="1349"/>
                  </a:lnTo>
                  <a:lnTo>
                    <a:pt x="222" y="1343"/>
                  </a:lnTo>
                  <a:lnTo>
                    <a:pt x="232" y="1336"/>
                  </a:lnTo>
                  <a:lnTo>
                    <a:pt x="242" y="1331"/>
                  </a:lnTo>
                  <a:lnTo>
                    <a:pt x="248" y="1328"/>
                  </a:lnTo>
                  <a:lnTo>
                    <a:pt x="253" y="1326"/>
                  </a:lnTo>
                  <a:lnTo>
                    <a:pt x="266" y="1322"/>
                  </a:lnTo>
                  <a:lnTo>
                    <a:pt x="271" y="1321"/>
                  </a:lnTo>
                  <a:lnTo>
                    <a:pt x="278" y="1319"/>
                  </a:lnTo>
                  <a:lnTo>
                    <a:pt x="290" y="1318"/>
                  </a:lnTo>
                  <a:lnTo>
                    <a:pt x="303" y="1317"/>
                  </a:lnTo>
                  <a:lnTo>
                    <a:pt x="320" y="1318"/>
                  </a:lnTo>
                  <a:lnTo>
                    <a:pt x="328" y="1318"/>
                  </a:lnTo>
                  <a:lnTo>
                    <a:pt x="336" y="1319"/>
                  </a:lnTo>
                  <a:lnTo>
                    <a:pt x="351" y="1322"/>
                  </a:lnTo>
                  <a:lnTo>
                    <a:pt x="366" y="1326"/>
                  </a:lnTo>
                  <a:lnTo>
                    <a:pt x="379" y="1331"/>
                  </a:lnTo>
                  <a:lnTo>
                    <a:pt x="391" y="1336"/>
                  </a:lnTo>
                  <a:lnTo>
                    <a:pt x="403" y="1343"/>
                  </a:lnTo>
                  <a:lnTo>
                    <a:pt x="416" y="1349"/>
                  </a:lnTo>
                  <a:lnTo>
                    <a:pt x="487" y="1211"/>
                  </a:lnTo>
                  <a:lnTo>
                    <a:pt x="466" y="1198"/>
                  </a:lnTo>
                  <a:lnTo>
                    <a:pt x="443" y="1188"/>
                  </a:lnTo>
                  <a:lnTo>
                    <a:pt x="432" y="1184"/>
                  </a:lnTo>
                  <a:lnTo>
                    <a:pt x="421" y="1179"/>
                  </a:lnTo>
                  <a:lnTo>
                    <a:pt x="409" y="1176"/>
                  </a:lnTo>
                  <a:lnTo>
                    <a:pt x="398" y="1172"/>
                  </a:lnTo>
                  <a:lnTo>
                    <a:pt x="386" y="1169"/>
                  </a:lnTo>
                  <a:lnTo>
                    <a:pt x="373" y="1166"/>
                  </a:lnTo>
                  <a:lnTo>
                    <a:pt x="361" y="1164"/>
                  </a:lnTo>
                  <a:lnTo>
                    <a:pt x="349" y="1163"/>
                  </a:lnTo>
                  <a:lnTo>
                    <a:pt x="336" y="1161"/>
                  </a:lnTo>
                  <a:lnTo>
                    <a:pt x="322" y="1160"/>
                  </a:lnTo>
                  <a:lnTo>
                    <a:pt x="296" y="1158"/>
                  </a:lnTo>
                  <a:lnTo>
                    <a:pt x="279" y="1160"/>
                  </a:lnTo>
                  <a:lnTo>
                    <a:pt x="263" y="1161"/>
                  </a:lnTo>
                  <a:lnTo>
                    <a:pt x="249" y="1162"/>
                  </a:lnTo>
                  <a:lnTo>
                    <a:pt x="233" y="1164"/>
                  </a:lnTo>
                  <a:lnTo>
                    <a:pt x="219" y="1167"/>
                  </a:lnTo>
                  <a:lnTo>
                    <a:pt x="205" y="1171"/>
                  </a:lnTo>
                  <a:lnTo>
                    <a:pt x="198" y="1172"/>
                  </a:lnTo>
                  <a:lnTo>
                    <a:pt x="191" y="1174"/>
                  </a:lnTo>
                  <a:lnTo>
                    <a:pt x="177" y="1179"/>
                  </a:lnTo>
                  <a:lnTo>
                    <a:pt x="165" y="1184"/>
                  </a:lnTo>
                  <a:lnTo>
                    <a:pt x="151" y="1189"/>
                  </a:lnTo>
                  <a:lnTo>
                    <a:pt x="139" y="1196"/>
                  </a:lnTo>
                  <a:lnTo>
                    <a:pt x="127" y="1203"/>
                  </a:lnTo>
                  <a:lnTo>
                    <a:pt x="116" y="1211"/>
                  </a:lnTo>
                  <a:lnTo>
                    <a:pt x="105" y="1218"/>
                  </a:lnTo>
                  <a:lnTo>
                    <a:pt x="94" y="1227"/>
                  </a:lnTo>
                  <a:lnTo>
                    <a:pt x="84" y="1236"/>
                  </a:lnTo>
                  <a:lnTo>
                    <a:pt x="75" y="1245"/>
                  </a:lnTo>
                  <a:lnTo>
                    <a:pt x="65" y="1255"/>
                  </a:lnTo>
                  <a:lnTo>
                    <a:pt x="57" y="1266"/>
                  </a:lnTo>
                  <a:lnTo>
                    <a:pt x="48" y="1277"/>
                  </a:lnTo>
                  <a:lnTo>
                    <a:pt x="41" y="1288"/>
                  </a:lnTo>
                  <a:lnTo>
                    <a:pt x="35" y="1301"/>
                  </a:lnTo>
                  <a:lnTo>
                    <a:pt x="28" y="1313"/>
                  </a:lnTo>
                  <a:lnTo>
                    <a:pt x="22" y="1325"/>
                  </a:lnTo>
                  <a:lnTo>
                    <a:pt x="17" y="1338"/>
                  </a:lnTo>
                  <a:lnTo>
                    <a:pt x="12" y="1352"/>
                  </a:lnTo>
                  <a:lnTo>
                    <a:pt x="9" y="1366"/>
                  </a:lnTo>
                  <a:lnTo>
                    <a:pt x="6" y="1381"/>
                  </a:lnTo>
                  <a:lnTo>
                    <a:pt x="4" y="1395"/>
                  </a:lnTo>
                  <a:lnTo>
                    <a:pt x="2" y="1403"/>
                  </a:lnTo>
                  <a:lnTo>
                    <a:pt x="1" y="1411"/>
                  </a:lnTo>
                  <a:lnTo>
                    <a:pt x="0" y="1426"/>
                  </a:lnTo>
                  <a:lnTo>
                    <a:pt x="0" y="1442"/>
                  </a:lnTo>
                  <a:lnTo>
                    <a:pt x="0" y="1457"/>
                  </a:lnTo>
                  <a:lnTo>
                    <a:pt x="1" y="1473"/>
                  </a:lnTo>
                  <a:lnTo>
                    <a:pt x="4" y="1488"/>
                  </a:lnTo>
                  <a:lnTo>
                    <a:pt x="6" y="1503"/>
                  </a:lnTo>
                  <a:lnTo>
                    <a:pt x="9" y="1517"/>
                  </a:lnTo>
                  <a:lnTo>
                    <a:pt x="12" y="1532"/>
                  </a:lnTo>
                  <a:lnTo>
                    <a:pt x="17" y="1545"/>
                  </a:lnTo>
                  <a:lnTo>
                    <a:pt x="22" y="1558"/>
                  </a:lnTo>
                  <a:lnTo>
                    <a:pt x="25" y="1565"/>
                  </a:lnTo>
                  <a:lnTo>
                    <a:pt x="28" y="1570"/>
                  </a:lnTo>
                  <a:lnTo>
                    <a:pt x="35" y="1583"/>
                  </a:lnTo>
                  <a:lnTo>
                    <a:pt x="41" y="1595"/>
                  </a:lnTo>
                  <a:lnTo>
                    <a:pt x="48" y="1606"/>
                  </a:lnTo>
                  <a:lnTo>
                    <a:pt x="57" y="1617"/>
                  </a:lnTo>
                  <a:lnTo>
                    <a:pt x="65" y="1627"/>
                  </a:lnTo>
                  <a:lnTo>
                    <a:pt x="75" y="1637"/>
                  </a:lnTo>
                  <a:lnTo>
                    <a:pt x="84" y="1647"/>
                  </a:lnTo>
                  <a:lnTo>
                    <a:pt x="94" y="1656"/>
                  </a:lnTo>
                  <a:lnTo>
                    <a:pt x="105" y="1665"/>
                  </a:lnTo>
                  <a:lnTo>
                    <a:pt x="116" y="1673"/>
                  </a:lnTo>
                  <a:lnTo>
                    <a:pt x="127" y="1680"/>
                  </a:lnTo>
                  <a:lnTo>
                    <a:pt x="139" y="1687"/>
                  </a:lnTo>
                  <a:lnTo>
                    <a:pt x="151" y="1693"/>
                  </a:lnTo>
                  <a:lnTo>
                    <a:pt x="165" y="1699"/>
                  </a:lnTo>
                  <a:lnTo>
                    <a:pt x="177" y="1704"/>
                  </a:lnTo>
                  <a:lnTo>
                    <a:pt x="191" y="1708"/>
                  </a:lnTo>
                  <a:lnTo>
                    <a:pt x="205" y="1713"/>
                  </a:lnTo>
                  <a:lnTo>
                    <a:pt x="219" y="1716"/>
                  </a:lnTo>
                  <a:lnTo>
                    <a:pt x="233" y="1719"/>
                  </a:lnTo>
                  <a:lnTo>
                    <a:pt x="249" y="1722"/>
                  </a:lnTo>
                  <a:lnTo>
                    <a:pt x="263" y="1723"/>
                  </a:lnTo>
                  <a:lnTo>
                    <a:pt x="279" y="1724"/>
                  </a:lnTo>
                  <a:lnTo>
                    <a:pt x="296" y="1724"/>
                  </a:lnTo>
                  <a:close/>
                  <a:moveTo>
                    <a:pt x="681" y="903"/>
                  </a:moveTo>
                  <a:lnTo>
                    <a:pt x="508" y="903"/>
                  </a:lnTo>
                  <a:lnTo>
                    <a:pt x="508" y="1707"/>
                  </a:lnTo>
                  <a:lnTo>
                    <a:pt x="681" y="1707"/>
                  </a:lnTo>
                  <a:lnTo>
                    <a:pt x="681" y="1441"/>
                  </a:lnTo>
                  <a:lnTo>
                    <a:pt x="681" y="1424"/>
                  </a:lnTo>
                  <a:lnTo>
                    <a:pt x="683" y="1408"/>
                  </a:lnTo>
                  <a:lnTo>
                    <a:pt x="684" y="1401"/>
                  </a:lnTo>
                  <a:lnTo>
                    <a:pt x="686" y="1394"/>
                  </a:lnTo>
                  <a:lnTo>
                    <a:pt x="687" y="1387"/>
                  </a:lnTo>
                  <a:lnTo>
                    <a:pt x="689" y="1381"/>
                  </a:lnTo>
                  <a:lnTo>
                    <a:pt x="693" y="1368"/>
                  </a:lnTo>
                  <a:lnTo>
                    <a:pt x="698" y="1358"/>
                  </a:lnTo>
                  <a:lnTo>
                    <a:pt x="701" y="1354"/>
                  </a:lnTo>
                  <a:lnTo>
                    <a:pt x="703" y="1349"/>
                  </a:lnTo>
                  <a:lnTo>
                    <a:pt x="707" y="1345"/>
                  </a:lnTo>
                  <a:lnTo>
                    <a:pt x="710" y="1341"/>
                  </a:lnTo>
                  <a:lnTo>
                    <a:pt x="718" y="1334"/>
                  </a:lnTo>
                  <a:lnTo>
                    <a:pt x="726" y="1327"/>
                  </a:lnTo>
                  <a:lnTo>
                    <a:pt x="733" y="1323"/>
                  </a:lnTo>
                  <a:lnTo>
                    <a:pt x="742" y="1318"/>
                  </a:lnTo>
                  <a:lnTo>
                    <a:pt x="752" y="1315"/>
                  </a:lnTo>
                  <a:lnTo>
                    <a:pt x="762" y="1314"/>
                  </a:lnTo>
                  <a:lnTo>
                    <a:pt x="772" y="1312"/>
                  </a:lnTo>
                  <a:lnTo>
                    <a:pt x="783" y="1312"/>
                  </a:lnTo>
                  <a:lnTo>
                    <a:pt x="794" y="1312"/>
                  </a:lnTo>
                  <a:lnTo>
                    <a:pt x="806" y="1314"/>
                  </a:lnTo>
                  <a:lnTo>
                    <a:pt x="816" y="1315"/>
                  </a:lnTo>
                  <a:lnTo>
                    <a:pt x="824" y="1318"/>
                  </a:lnTo>
                  <a:lnTo>
                    <a:pt x="833" y="1323"/>
                  </a:lnTo>
                  <a:lnTo>
                    <a:pt x="841" y="1327"/>
                  </a:lnTo>
                  <a:lnTo>
                    <a:pt x="849" y="1333"/>
                  </a:lnTo>
                  <a:lnTo>
                    <a:pt x="852" y="1336"/>
                  </a:lnTo>
                  <a:lnTo>
                    <a:pt x="856" y="1339"/>
                  </a:lnTo>
                  <a:lnTo>
                    <a:pt x="861" y="1347"/>
                  </a:lnTo>
                  <a:lnTo>
                    <a:pt x="865" y="1355"/>
                  </a:lnTo>
                  <a:lnTo>
                    <a:pt x="868" y="1361"/>
                  </a:lnTo>
                  <a:lnTo>
                    <a:pt x="870" y="1365"/>
                  </a:lnTo>
                  <a:lnTo>
                    <a:pt x="872" y="1369"/>
                  </a:lnTo>
                  <a:lnTo>
                    <a:pt x="873" y="1375"/>
                  </a:lnTo>
                  <a:lnTo>
                    <a:pt x="877" y="1386"/>
                  </a:lnTo>
                  <a:lnTo>
                    <a:pt x="878" y="1399"/>
                  </a:lnTo>
                  <a:lnTo>
                    <a:pt x="879" y="1413"/>
                  </a:lnTo>
                  <a:lnTo>
                    <a:pt x="880" y="1426"/>
                  </a:lnTo>
                  <a:lnTo>
                    <a:pt x="880" y="1707"/>
                  </a:lnTo>
                  <a:lnTo>
                    <a:pt x="1053" y="1707"/>
                  </a:lnTo>
                  <a:lnTo>
                    <a:pt x="1053" y="1378"/>
                  </a:lnTo>
                  <a:lnTo>
                    <a:pt x="1053" y="1364"/>
                  </a:lnTo>
                  <a:lnTo>
                    <a:pt x="1052" y="1351"/>
                  </a:lnTo>
                  <a:lnTo>
                    <a:pt x="1051" y="1338"/>
                  </a:lnTo>
                  <a:lnTo>
                    <a:pt x="1050" y="1325"/>
                  </a:lnTo>
                  <a:lnTo>
                    <a:pt x="1048" y="1314"/>
                  </a:lnTo>
                  <a:lnTo>
                    <a:pt x="1044" y="1302"/>
                  </a:lnTo>
                  <a:lnTo>
                    <a:pt x="1042" y="1291"/>
                  </a:lnTo>
                  <a:lnTo>
                    <a:pt x="1039" y="1281"/>
                  </a:lnTo>
                  <a:lnTo>
                    <a:pt x="1034" y="1269"/>
                  </a:lnTo>
                  <a:lnTo>
                    <a:pt x="1031" y="1261"/>
                  </a:lnTo>
                  <a:lnTo>
                    <a:pt x="1025" y="1251"/>
                  </a:lnTo>
                  <a:lnTo>
                    <a:pt x="1021" y="1243"/>
                  </a:lnTo>
                  <a:lnTo>
                    <a:pt x="1015" y="1234"/>
                  </a:lnTo>
                  <a:lnTo>
                    <a:pt x="1010" y="1226"/>
                  </a:lnTo>
                  <a:lnTo>
                    <a:pt x="1003" y="1218"/>
                  </a:lnTo>
                  <a:lnTo>
                    <a:pt x="998" y="1212"/>
                  </a:lnTo>
                  <a:lnTo>
                    <a:pt x="990" y="1205"/>
                  </a:lnTo>
                  <a:lnTo>
                    <a:pt x="983" y="1199"/>
                  </a:lnTo>
                  <a:lnTo>
                    <a:pt x="975" y="1194"/>
                  </a:lnTo>
                  <a:lnTo>
                    <a:pt x="968" y="1188"/>
                  </a:lnTo>
                  <a:lnTo>
                    <a:pt x="960" y="1184"/>
                  </a:lnTo>
                  <a:lnTo>
                    <a:pt x="952" y="1179"/>
                  </a:lnTo>
                  <a:lnTo>
                    <a:pt x="943" y="1175"/>
                  </a:lnTo>
                  <a:lnTo>
                    <a:pt x="934" y="1172"/>
                  </a:lnTo>
                  <a:lnTo>
                    <a:pt x="924" y="1168"/>
                  </a:lnTo>
                  <a:lnTo>
                    <a:pt x="915" y="1166"/>
                  </a:lnTo>
                  <a:lnTo>
                    <a:pt x="905" y="1164"/>
                  </a:lnTo>
                  <a:lnTo>
                    <a:pt x="895" y="1162"/>
                  </a:lnTo>
                  <a:lnTo>
                    <a:pt x="885" y="1161"/>
                  </a:lnTo>
                  <a:lnTo>
                    <a:pt x="874" y="1160"/>
                  </a:lnTo>
                  <a:lnTo>
                    <a:pt x="864" y="1160"/>
                  </a:lnTo>
                  <a:lnTo>
                    <a:pt x="853" y="1158"/>
                  </a:lnTo>
                  <a:lnTo>
                    <a:pt x="839" y="1160"/>
                  </a:lnTo>
                  <a:lnTo>
                    <a:pt x="826" y="1161"/>
                  </a:lnTo>
                  <a:lnTo>
                    <a:pt x="812" y="1162"/>
                  </a:lnTo>
                  <a:lnTo>
                    <a:pt x="800" y="1165"/>
                  </a:lnTo>
                  <a:lnTo>
                    <a:pt x="788" y="1167"/>
                  </a:lnTo>
                  <a:lnTo>
                    <a:pt x="776" y="1172"/>
                  </a:lnTo>
                  <a:lnTo>
                    <a:pt x="764" y="1176"/>
                  </a:lnTo>
                  <a:lnTo>
                    <a:pt x="753" y="1182"/>
                  </a:lnTo>
                  <a:lnTo>
                    <a:pt x="743" y="1187"/>
                  </a:lnTo>
                  <a:lnTo>
                    <a:pt x="733" y="1194"/>
                  </a:lnTo>
                  <a:lnTo>
                    <a:pt x="723" y="1201"/>
                  </a:lnTo>
                  <a:lnTo>
                    <a:pt x="714" y="1208"/>
                  </a:lnTo>
                  <a:lnTo>
                    <a:pt x="706" y="1217"/>
                  </a:lnTo>
                  <a:lnTo>
                    <a:pt x="702" y="1222"/>
                  </a:lnTo>
                  <a:lnTo>
                    <a:pt x="698" y="1226"/>
                  </a:lnTo>
                  <a:lnTo>
                    <a:pt x="690" y="1236"/>
                  </a:lnTo>
                  <a:lnTo>
                    <a:pt x="683" y="1246"/>
                  </a:lnTo>
                  <a:lnTo>
                    <a:pt x="681" y="1246"/>
                  </a:lnTo>
                  <a:lnTo>
                    <a:pt x="681" y="903"/>
                  </a:lnTo>
                  <a:close/>
                  <a:moveTo>
                    <a:pt x="1341" y="1724"/>
                  </a:moveTo>
                  <a:lnTo>
                    <a:pt x="1356" y="1724"/>
                  </a:lnTo>
                  <a:lnTo>
                    <a:pt x="1372" y="1723"/>
                  </a:lnTo>
                  <a:lnTo>
                    <a:pt x="1386" y="1720"/>
                  </a:lnTo>
                  <a:lnTo>
                    <a:pt x="1400" y="1718"/>
                  </a:lnTo>
                  <a:lnTo>
                    <a:pt x="1412" y="1714"/>
                  </a:lnTo>
                  <a:lnTo>
                    <a:pt x="1424" y="1710"/>
                  </a:lnTo>
                  <a:lnTo>
                    <a:pt x="1436" y="1705"/>
                  </a:lnTo>
                  <a:lnTo>
                    <a:pt x="1448" y="1699"/>
                  </a:lnTo>
                  <a:lnTo>
                    <a:pt x="1458" y="1694"/>
                  </a:lnTo>
                  <a:lnTo>
                    <a:pt x="1468" y="1687"/>
                  </a:lnTo>
                  <a:lnTo>
                    <a:pt x="1476" y="1679"/>
                  </a:lnTo>
                  <a:lnTo>
                    <a:pt x="1485" y="1672"/>
                  </a:lnTo>
                  <a:lnTo>
                    <a:pt x="1493" y="1663"/>
                  </a:lnTo>
                  <a:lnTo>
                    <a:pt x="1501" y="1654"/>
                  </a:lnTo>
                  <a:lnTo>
                    <a:pt x="1508" y="1645"/>
                  </a:lnTo>
                  <a:lnTo>
                    <a:pt x="1514" y="1635"/>
                  </a:lnTo>
                  <a:lnTo>
                    <a:pt x="1516" y="1635"/>
                  </a:lnTo>
                  <a:lnTo>
                    <a:pt x="1516" y="1707"/>
                  </a:lnTo>
                  <a:lnTo>
                    <a:pt x="1690" y="1707"/>
                  </a:lnTo>
                  <a:lnTo>
                    <a:pt x="1690" y="1176"/>
                  </a:lnTo>
                  <a:lnTo>
                    <a:pt x="1516" y="1176"/>
                  </a:lnTo>
                  <a:lnTo>
                    <a:pt x="1516" y="1248"/>
                  </a:lnTo>
                  <a:lnTo>
                    <a:pt x="1514" y="1248"/>
                  </a:lnTo>
                  <a:lnTo>
                    <a:pt x="1508" y="1238"/>
                  </a:lnTo>
                  <a:lnTo>
                    <a:pt x="1501" y="1229"/>
                  </a:lnTo>
                  <a:lnTo>
                    <a:pt x="1493" y="1221"/>
                  </a:lnTo>
                  <a:lnTo>
                    <a:pt x="1485" y="1212"/>
                  </a:lnTo>
                  <a:lnTo>
                    <a:pt x="1476" y="1204"/>
                  </a:lnTo>
                  <a:lnTo>
                    <a:pt x="1468" y="1196"/>
                  </a:lnTo>
                  <a:lnTo>
                    <a:pt x="1463" y="1193"/>
                  </a:lnTo>
                  <a:lnTo>
                    <a:pt x="1458" y="1189"/>
                  </a:lnTo>
                  <a:lnTo>
                    <a:pt x="1448" y="1184"/>
                  </a:lnTo>
                  <a:lnTo>
                    <a:pt x="1436" y="1178"/>
                  </a:lnTo>
                  <a:lnTo>
                    <a:pt x="1424" y="1173"/>
                  </a:lnTo>
                  <a:lnTo>
                    <a:pt x="1412" y="1168"/>
                  </a:lnTo>
                  <a:lnTo>
                    <a:pt x="1400" y="1165"/>
                  </a:lnTo>
                  <a:lnTo>
                    <a:pt x="1386" y="1163"/>
                  </a:lnTo>
                  <a:lnTo>
                    <a:pt x="1372" y="1161"/>
                  </a:lnTo>
                  <a:lnTo>
                    <a:pt x="1356" y="1160"/>
                  </a:lnTo>
                  <a:lnTo>
                    <a:pt x="1341" y="1158"/>
                  </a:lnTo>
                  <a:lnTo>
                    <a:pt x="1328" y="1160"/>
                  </a:lnTo>
                  <a:lnTo>
                    <a:pt x="1315" y="1160"/>
                  </a:lnTo>
                  <a:lnTo>
                    <a:pt x="1303" y="1162"/>
                  </a:lnTo>
                  <a:lnTo>
                    <a:pt x="1291" y="1164"/>
                  </a:lnTo>
                  <a:lnTo>
                    <a:pt x="1279" y="1166"/>
                  </a:lnTo>
                  <a:lnTo>
                    <a:pt x="1266" y="1169"/>
                  </a:lnTo>
                  <a:lnTo>
                    <a:pt x="1254" y="1173"/>
                  </a:lnTo>
                  <a:lnTo>
                    <a:pt x="1243" y="1177"/>
                  </a:lnTo>
                  <a:lnTo>
                    <a:pt x="1232" y="1182"/>
                  </a:lnTo>
                  <a:lnTo>
                    <a:pt x="1221" y="1187"/>
                  </a:lnTo>
                  <a:lnTo>
                    <a:pt x="1211" y="1193"/>
                  </a:lnTo>
                  <a:lnTo>
                    <a:pt x="1201" y="1199"/>
                  </a:lnTo>
                  <a:lnTo>
                    <a:pt x="1191" y="1206"/>
                  </a:lnTo>
                  <a:lnTo>
                    <a:pt x="1181" y="1214"/>
                  </a:lnTo>
                  <a:lnTo>
                    <a:pt x="1172" y="1222"/>
                  </a:lnTo>
                  <a:lnTo>
                    <a:pt x="1163" y="1231"/>
                  </a:lnTo>
                  <a:lnTo>
                    <a:pt x="1155" y="1239"/>
                  </a:lnTo>
                  <a:lnTo>
                    <a:pt x="1147" y="1249"/>
                  </a:lnTo>
                  <a:lnTo>
                    <a:pt x="1140" y="1259"/>
                  </a:lnTo>
                  <a:lnTo>
                    <a:pt x="1132" y="1271"/>
                  </a:lnTo>
                  <a:lnTo>
                    <a:pt x="1125" y="1282"/>
                  </a:lnTo>
                  <a:lnTo>
                    <a:pt x="1120" y="1294"/>
                  </a:lnTo>
                  <a:lnTo>
                    <a:pt x="1114" y="1306"/>
                  </a:lnTo>
                  <a:lnTo>
                    <a:pt x="1109" y="1318"/>
                  </a:lnTo>
                  <a:lnTo>
                    <a:pt x="1104" y="1333"/>
                  </a:lnTo>
                  <a:lnTo>
                    <a:pt x="1101" y="1346"/>
                  </a:lnTo>
                  <a:lnTo>
                    <a:pt x="1098" y="1361"/>
                  </a:lnTo>
                  <a:lnTo>
                    <a:pt x="1094" y="1376"/>
                  </a:lnTo>
                  <a:lnTo>
                    <a:pt x="1092" y="1392"/>
                  </a:lnTo>
                  <a:lnTo>
                    <a:pt x="1091" y="1407"/>
                  </a:lnTo>
                  <a:lnTo>
                    <a:pt x="1090" y="1424"/>
                  </a:lnTo>
                  <a:lnTo>
                    <a:pt x="1089" y="1442"/>
                  </a:lnTo>
                  <a:lnTo>
                    <a:pt x="1090" y="1458"/>
                  </a:lnTo>
                  <a:lnTo>
                    <a:pt x="1091" y="1475"/>
                  </a:lnTo>
                  <a:lnTo>
                    <a:pt x="1092" y="1492"/>
                  </a:lnTo>
                  <a:lnTo>
                    <a:pt x="1094" y="1507"/>
                  </a:lnTo>
                  <a:lnTo>
                    <a:pt x="1098" y="1523"/>
                  </a:lnTo>
                  <a:lnTo>
                    <a:pt x="1101" y="1537"/>
                  </a:lnTo>
                  <a:lnTo>
                    <a:pt x="1104" y="1550"/>
                  </a:lnTo>
                  <a:lnTo>
                    <a:pt x="1109" y="1564"/>
                  </a:lnTo>
                  <a:lnTo>
                    <a:pt x="1114" y="1577"/>
                  </a:lnTo>
                  <a:lnTo>
                    <a:pt x="1120" y="1589"/>
                  </a:lnTo>
                  <a:lnTo>
                    <a:pt x="1125" y="1602"/>
                  </a:lnTo>
                  <a:lnTo>
                    <a:pt x="1132" y="1613"/>
                  </a:lnTo>
                  <a:lnTo>
                    <a:pt x="1140" y="1624"/>
                  </a:lnTo>
                  <a:lnTo>
                    <a:pt x="1147" y="1634"/>
                  </a:lnTo>
                  <a:lnTo>
                    <a:pt x="1155" y="1644"/>
                  </a:lnTo>
                  <a:lnTo>
                    <a:pt x="1163" y="1653"/>
                  </a:lnTo>
                  <a:lnTo>
                    <a:pt x="1172" y="1662"/>
                  </a:lnTo>
                  <a:lnTo>
                    <a:pt x="1181" y="1669"/>
                  </a:lnTo>
                  <a:lnTo>
                    <a:pt x="1191" y="1677"/>
                  </a:lnTo>
                  <a:lnTo>
                    <a:pt x="1201" y="1684"/>
                  </a:lnTo>
                  <a:lnTo>
                    <a:pt x="1211" y="1690"/>
                  </a:lnTo>
                  <a:lnTo>
                    <a:pt x="1221" y="1696"/>
                  </a:lnTo>
                  <a:lnTo>
                    <a:pt x="1232" y="1702"/>
                  </a:lnTo>
                  <a:lnTo>
                    <a:pt x="1243" y="1706"/>
                  </a:lnTo>
                  <a:lnTo>
                    <a:pt x="1254" y="1710"/>
                  </a:lnTo>
                  <a:lnTo>
                    <a:pt x="1266" y="1714"/>
                  </a:lnTo>
                  <a:lnTo>
                    <a:pt x="1279" y="1717"/>
                  </a:lnTo>
                  <a:lnTo>
                    <a:pt x="1291" y="1719"/>
                  </a:lnTo>
                  <a:lnTo>
                    <a:pt x="1303" y="1722"/>
                  </a:lnTo>
                  <a:lnTo>
                    <a:pt x="1315" y="1723"/>
                  </a:lnTo>
                  <a:lnTo>
                    <a:pt x="1328" y="1724"/>
                  </a:lnTo>
                  <a:lnTo>
                    <a:pt x="1341" y="1724"/>
                  </a:lnTo>
                  <a:close/>
                  <a:moveTo>
                    <a:pt x="1389" y="1566"/>
                  </a:moveTo>
                  <a:lnTo>
                    <a:pt x="1376" y="1565"/>
                  </a:lnTo>
                  <a:lnTo>
                    <a:pt x="1370" y="1565"/>
                  </a:lnTo>
                  <a:lnTo>
                    <a:pt x="1364" y="1564"/>
                  </a:lnTo>
                  <a:lnTo>
                    <a:pt x="1352" y="1560"/>
                  </a:lnTo>
                  <a:lnTo>
                    <a:pt x="1346" y="1559"/>
                  </a:lnTo>
                  <a:lnTo>
                    <a:pt x="1341" y="1557"/>
                  </a:lnTo>
                  <a:lnTo>
                    <a:pt x="1330" y="1552"/>
                  </a:lnTo>
                  <a:lnTo>
                    <a:pt x="1325" y="1549"/>
                  </a:lnTo>
                  <a:lnTo>
                    <a:pt x="1320" y="1546"/>
                  </a:lnTo>
                  <a:lnTo>
                    <a:pt x="1315" y="1543"/>
                  </a:lnTo>
                  <a:lnTo>
                    <a:pt x="1311" y="1539"/>
                  </a:lnTo>
                  <a:lnTo>
                    <a:pt x="1302" y="1532"/>
                  </a:lnTo>
                  <a:lnTo>
                    <a:pt x="1294" y="1524"/>
                  </a:lnTo>
                  <a:lnTo>
                    <a:pt x="1288" y="1514"/>
                  </a:lnTo>
                  <a:lnTo>
                    <a:pt x="1282" y="1504"/>
                  </a:lnTo>
                  <a:lnTo>
                    <a:pt x="1279" y="1498"/>
                  </a:lnTo>
                  <a:lnTo>
                    <a:pt x="1276" y="1493"/>
                  </a:lnTo>
                  <a:lnTo>
                    <a:pt x="1272" y="1482"/>
                  </a:lnTo>
                  <a:lnTo>
                    <a:pt x="1270" y="1468"/>
                  </a:lnTo>
                  <a:lnTo>
                    <a:pt x="1269" y="1462"/>
                  </a:lnTo>
                  <a:lnTo>
                    <a:pt x="1268" y="1455"/>
                  </a:lnTo>
                  <a:lnTo>
                    <a:pt x="1268" y="1442"/>
                  </a:lnTo>
                  <a:lnTo>
                    <a:pt x="1268" y="1427"/>
                  </a:lnTo>
                  <a:lnTo>
                    <a:pt x="1270" y="1415"/>
                  </a:lnTo>
                  <a:lnTo>
                    <a:pt x="1271" y="1408"/>
                  </a:lnTo>
                  <a:lnTo>
                    <a:pt x="1272" y="1402"/>
                  </a:lnTo>
                  <a:lnTo>
                    <a:pt x="1276" y="1391"/>
                  </a:lnTo>
                  <a:lnTo>
                    <a:pt x="1279" y="1385"/>
                  </a:lnTo>
                  <a:lnTo>
                    <a:pt x="1282" y="1379"/>
                  </a:lnTo>
                  <a:lnTo>
                    <a:pt x="1288" y="1369"/>
                  </a:lnTo>
                  <a:lnTo>
                    <a:pt x="1294" y="1359"/>
                  </a:lnTo>
                  <a:lnTo>
                    <a:pt x="1302" y="1351"/>
                  </a:lnTo>
                  <a:lnTo>
                    <a:pt x="1306" y="1347"/>
                  </a:lnTo>
                  <a:lnTo>
                    <a:pt x="1311" y="1344"/>
                  </a:lnTo>
                  <a:lnTo>
                    <a:pt x="1315" y="1341"/>
                  </a:lnTo>
                  <a:lnTo>
                    <a:pt x="1320" y="1337"/>
                  </a:lnTo>
                  <a:lnTo>
                    <a:pt x="1330" y="1331"/>
                  </a:lnTo>
                  <a:lnTo>
                    <a:pt x="1341" y="1326"/>
                  </a:lnTo>
                  <a:lnTo>
                    <a:pt x="1352" y="1323"/>
                  </a:lnTo>
                  <a:lnTo>
                    <a:pt x="1364" y="1319"/>
                  </a:lnTo>
                  <a:lnTo>
                    <a:pt x="1370" y="1318"/>
                  </a:lnTo>
                  <a:lnTo>
                    <a:pt x="1376" y="1318"/>
                  </a:lnTo>
                  <a:lnTo>
                    <a:pt x="1389" y="1317"/>
                  </a:lnTo>
                  <a:lnTo>
                    <a:pt x="1402" y="1318"/>
                  </a:lnTo>
                  <a:lnTo>
                    <a:pt x="1414" y="1319"/>
                  </a:lnTo>
                  <a:lnTo>
                    <a:pt x="1426" y="1323"/>
                  </a:lnTo>
                  <a:lnTo>
                    <a:pt x="1432" y="1324"/>
                  </a:lnTo>
                  <a:lnTo>
                    <a:pt x="1438" y="1326"/>
                  </a:lnTo>
                  <a:lnTo>
                    <a:pt x="1449" y="1331"/>
                  </a:lnTo>
                  <a:lnTo>
                    <a:pt x="1454" y="1334"/>
                  </a:lnTo>
                  <a:lnTo>
                    <a:pt x="1459" y="1337"/>
                  </a:lnTo>
                  <a:lnTo>
                    <a:pt x="1463" y="1341"/>
                  </a:lnTo>
                  <a:lnTo>
                    <a:pt x="1469" y="1344"/>
                  </a:lnTo>
                  <a:lnTo>
                    <a:pt x="1476" y="1351"/>
                  </a:lnTo>
                  <a:lnTo>
                    <a:pt x="1484" y="1359"/>
                  </a:lnTo>
                  <a:lnTo>
                    <a:pt x="1492" y="1369"/>
                  </a:lnTo>
                  <a:lnTo>
                    <a:pt x="1498" y="1379"/>
                  </a:lnTo>
                  <a:lnTo>
                    <a:pt x="1500" y="1385"/>
                  </a:lnTo>
                  <a:lnTo>
                    <a:pt x="1503" y="1391"/>
                  </a:lnTo>
                  <a:lnTo>
                    <a:pt x="1506" y="1402"/>
                  </a:lnTo>
                  <a:lnTo>
                    <a:pt x="1510" y="1415"/>
                  </a:lnTo>
                  <a:lnTo>
                    <a:pt x="1511" y="1421"/>
                  </a:lnTo>
                  <a:lnTo>
                    <a:pt x="1511" y="1427"/>
                  </a:lnTo>
                  <a:lnTo>
                    <a:pt x="1512" y="1442"/>
                  </a:lnTo>
                  <a:lnTo>
                    <a:pt x="1511" y="1455"/>
                  </a:lnTo>
                  <a:lnTo>
                    <a:pt x="1510" y="1468"/>
                  </a:lnTo>
                  <a:lnTo>
                    <a:pt x="1509" y="1475"/>
                  </a:lnTo>
                  <a:lnTo>
                    <a:pt x="1506" y="1482"/>
                  </a:lnTo>
                  <a:lnTo>
                    <a:pt x="1503" y="1493"/>
                  </a:lnTo>
                  <a:lnTo>
                    <a:pt x="1500" y="1498"/>
                  </a:lnTo>
                  <a:lnTo>
                    <a:pt x="1498" y="1504"/>
                  </a:lnTo>
                  <a:lnTo>
                    <a:pt x="1492" y="1514"/>
                  </a:lnTo>
                  <a:lnTo>
                    <a:pt x="1484" y="1524"/>
                  </a:lnTo>
                  <a:lnTo>
                    <a:pt x="1476" y="1532"/>
                  </a:lnTo>
                  <a:lnTo>
                    <a:pt x="1473" y="1536"/>
                  </a:lnTo>
                  <a:lnTo>
                    <a:pt x="1469" y="1539"/>
                  </a:lnTo>
                  <a:lnTo>
                    <a:pt x="1463" y="1543"/>
                  </a:lnTo>
                  <a:lnTo>
                    <a:pt x="1459" y="1546"/>
                  </a:lnTo>
                  <a:lnTo>
                    <a:pt x="1449" y="1552"/>
                  </a:lnTo>
                  <a:lnTo>
                    <a:pt x="1438" y="1557"/>
                  </a:lnTo>
                  <a:lnTo>
                    <a:pt x="1426" y="1560"/>
                  </a:lnTo>
                  <a:lnTo>
                    <a:pt x="1414" y="1564"/>
                  </a:lnTo>
                  <a:lnTo>
                    <a:pt x="1402" y="1565"/>
                  </a:lnTo>
                  <a:lnTo>
                    <a:pt x="1389" y="1566"/>
                  </a:lnTo>
                  <a:close/>
                  <a:moveTo>
                    <a:pt x="2100" y="1158"/>
                  </a:moveTo>
                  <a:lnTo>
                    <a:pt x="2086" y="1160"/>
                  </a:lnTo>
                  <a:lnTo>
                    <a:pt x="2072" y="1161"/>
                  </a:lnTo>
                  <a:lnTo>
                    <a:pt x="2058" y="1163"/>
                  </a:lnTo>
                  <a:lnTo>
                    <a:pt x="2046" y="1165"/>
                  </a:lnTo>
                  <a:lnTo>
                    <a:pt x="2034" y="1169"/>
                  </a:lnTo>
                  <a:lnTo>
                    <a:pt x="2022" y="1174"/>
                  </a:lnTo>
                  <a:lnTo>
                    <a:pt x="2010" y="1178"/>
                  </a:lnTo>
                  <a:lnTo>
                    <a:pt x="1998" y="1184"/>
                  </a:lnTo>
                  <a:lnTo>
                    <a:pt x="1987" y="1191"/>
                  </a:lnTo>
                  <a:lnTo>
                    <a:pt x="1977" y="1198"/>
                  </a:lnTo>
                  <a:lnTo>
                    <a:pt x="1967" y="1206"/>
                  </a:lnTo>
                  <a:lnTo>
                    <a:pt x="1959" y="1215"/>
                  </a:lnTo>
                  <a:lnTo>
                    <a:pt x="1950" y="1225"/>
                  </a:lnTo>
                  <a:lnTo>
                    <a:pt x="1941" y="1235"/>
                  </a:lnTo>
                  <a:lnTo>
                    <a:pt x="1933" y="1245"/>
                  </a:lnTo>
                  <a:lnTo>
                    <a:pt x="1926" y="1256"/>
                  </a:lnTo>
                  <a:lnTo>
                    <a:pt x="1924" y="1256"/>
                  </a:lnTo>
                  <a:lnTo>
                    <a:pt x="1924" y="1176"/>
                  </a:lnTo>
                  <a:lnTo>
                    <a:pt x="1754" y="1176"/>
                  </a:lnTo>
                  <a:lnTo>
                    <a:pt x="1754" y="1707"/>
                  </a:lnTo>
                  <a:lnTo>
                    <a:pt x="1927" y="1707"/>
                  </a:lnTo>
                  <a:lnTo>
                    <a:pt x="1927" y="1441"/>
                  </a:lnTo>
                  <a:lnTo>
                    <a:pt x="1927" y="1424"/>
                  </a:lnTo>
                  <a:lnTo>
                    <a:pt x="1930" y="1408"/>
                  </a:lnTo>
                  <a:lnTo>
                    <a:pt x="1931" y="1401"/>
                  </a:lnTo>
                  <a:lnTo>
                    <a:pt x="1932" y="1394"/>
                  </a:lnTo>
                  <a:lnTo>
                    <a:pt x="1933" y="1387"/>
                  </a:lnTo>
                  <a:lnTo>
                    <a:pt x="1935" y="1381"/>
                  </a:lnTo>
                  <a:lnTo>
                    <a:pt x="1940" y="1368"/>
                  </a:lnTo>
                  <a:lnTo>
                    <a:pt x="1944" y="1358"/>
                  </a:lnTo>
                  <a:lnTo>
                    <a:pt x="1947" y="1354"/>
                  </a:lnTo>
                  <a:lnTo>
                    <a:pt x="1950" y="1349"/>
                  </a:lnTo>
                  <a:lnTo>
                    <a:pt x="1953" y="1345"/>
                  </a:lnTo>
                  <a:lnTo>
                    <a:pt x="1956" y="1341"/>
                  </a:lnTo>
                  <a:lnTo>
                    <a:pt x="1964" y="1334"/>
                  </a:lnTo>
                  <a:lnTo>
                    <a:pt x="1972" y="1327"/>
                  </a:lnTo>
                  <a:lnTo>
                    <a:pt x="1980" y="1323"/>
                  </a:lnTo>
                  <a:lnTo>
                    <a:pt x="1989" y="1318"/>
                  </a:lnTo>
                  <a:lnTo>
                    <a:pt x="1998" y="1315"/>
                  </a:lnTo>
                  <a:lnTo>
                    <a:pt x="2008" y="1314"/>
                  </a:lnTo>
                  <a:lnTo>
                    <a:pt x="2018" y="1312"/>
                  </a:lnTo>
                  <a:lnTo>
                    <a:pt x="2030" y="1312"/>
                  </a:lnTo>
                  <a:lnTo>
                    <a:pt x="2041" y="1312"/>
                  </a:lnTo>
                  <a:lnTo>
                    <a:pt x="2052" y="1314"/>
                  </a:lnTo>
                  <a:lnTo>
                    <a:pt x="2063" y="1315"/>
                  </a:lnTo>
                  <a:lnTo>
                    <a:pt x="2072" y="1318"/>
                  </a:lnTo>
                  <a:lnTo>
                    <a:pt x="2081" y="1323"/>
                  </a:lnTo>
                  <a:lnTo>
                    <a:pt x="2088" y="1327"/>
                  </a:lnTo>
                  <a:lnTo>
                    <a:pt x="2096" y="1333"/>
                  </a:lnTo>
                  <a:lnTo>
                    <a:pt x="2100" y="1336"/>
                  </a:lnTo>
                  <a:lnTo>
                    <a:pt x="2103" y="1339"/>
                  </a:lnTo>
                  <a:lnTo>
                    <a:pt x="2108" y="1347"/>
                  </a:lnTo>
                  <a:lnTo>
                    <a:pt x="2113" y="1355"/>
                  </a:lnTo>
                  <a:lnTo>
                    <a:pt x="2115" y="1361"/>
                  </a:lnTo>
                  <a:lnTo>
                    <a:pt x="2117" y="1365"/>
                  </a:lnTo>
                  <a:lnTo>
                    <a:pt x="2121" y="1375"/>
                  </a:lnTo>
                  <a:lnTo>
                    <a:pt x="2124" y="1386"/>
                  </a:lnTo>
                  <a:lnTo>
                    <a:pt x="2125" y="1399"/>
                  </a:lnTo>
                  <a:lnTo>
                    <a:pt x="2127" y="1413"/>
                  </a:lnTo>
                  <a:lnTo>
                    <a:pt x="2127" y="1426"/>
                  </a:lnTo>
                  <a:lnTo>
                    <a:pt x="2127" y="1707"/>
                  </a:lnTo>
                  <a:lnTo>
                    <a:pt x="2300" y="1707"/>
                  </a:lnTo>
                  <a:lnTo>
                    <a:pt x="2300" y="1378"/>
                  </a:lnTo>
                  <a:lnTo>
                    <a:pt x="2300" y="1364"/>
                  </a:lnTo>
                  <a:lnTo>
                    <a:pt x="2298" y="1351"/>
                  </a:lnTo>
                  <a:lnTo>
                    <a:pt x="2297" y="1338"/>
                  </a:lnTo>
                  <a:lnTo>
                    <a:pt x="2296" y="1325"/>
                  </a:lnTo>
                  <a:lnTo>
                    <a:pt x="2294" y="1314"/>
                  </a:lnTo>
                  <a:lnTo>
                    <a:pt x="2291" y="1302"/>
                  </a:lnTo>
                  <a:lnTo>
                    <a:pt x="2288" y="1291"/>
                  </a:lnTo>
                  <a:lnTo>
                    <a:pt x="2285" y="1281"/>
                  </a:lnTo>
                  <a:lnTo>
                    <a:pt x="2281" y="1269"/>
                  </a:lnTo>
                  <a:lnTo>
                    <a:pt x="2277" y="1261"/>
                  </a:lnTo>
                  <a:lnTo>
                    <a:pt x="2272" y="1251"/>
                  </a:lnTo>
                  <a:lnTo>
                    <a:pt x="2267" y="1243"/>
                  </a:lnTo>
                  <a:lnTo>
                    <a:pt x="2262" y="1234"/>
                  </a:lnTo>
                  <a:lnTo>
                    <a:pt x="2256" y="1226"/>
                  </a:lnTo>
                  <a:lnTo>
                    <a:pt x="2250" y="1218"/>
                  </a:lnTo>
                  <a:lnTo>
                    <a:pt x="2244" y="1212"/>
                  </a:lnTo>
                  <a:lnTo>
                    <a:pt x="2236" y="1205"/>
                  </a:lnTo>
                  <a:lnTo>
                    <a:pt x="2230" y="1199"/>
                  </a:lnTo>
                  <a:lnTo>
                    <a:pt x="2222" y="1194"/>
                  </a:lnTo>
                  <a:lnTo>
                    <a:pt x="2214" y="1188"/>
                  </a:lnTo>
                  <a:lnTo>
                    <a:pt x="2206" y="1184"/>
                  </a:lnTo>
                  <a:lnTo>
                    <a:pt x="2198" y="1179"/>
                  </a:lnTo>
                  <a:lnTo>
                    <a:pt x="2190" y="1175"/>
                  </a:lnTo>
                  <a:lnTo>
                    <a:pt x="2181" y="1172"/>
                  </a:lnTo>
                  <a:lnTo>
                    <a:pt x="2171" y="1168"/>
                  </a:lnTo>
                  <a:lnTo>
                    <a:pt x="2162" y="1166"/>
                  </a:lnTo>
                  <a:lnTo>
                    <a:pt x="2152" y="1164"/>
                  </a:lnTo>
                  <a:lnTo>
                    <a:pt x="2142" y="1162"/>
                  </a:lnTo>
                  <a:lnTo>
                    <a:pt x="2132" y="1161"/>
                  </a:lnTo>
                  <a:lnTo>
                    <a:pt x="2121" y="1160"/>
                  </a:lnTo>
                  <a:lnTo>
                    <a:pt x="2111" y="1160"/>
                  </a:lnTo>
                  <a:lnTo>
                    <a:pt x="2100" y="1158"/>
                  </a:lnTo>
                  <a:close/>
                  <a:moveTo>
                    <a:pt x="2651" y="1954"/>
                  </a:moveTo>
                  <a:lnTo>
                    <a:pt x="2668" y="1954"/>
                  </a:lnTo>
                  <a:lnTo>
                    <a:pt x="2685" y="1953"/>
                  </a:lnTo>
                  <a:lnTo>
                    <a:pt x="2701" y="1951"/>
                  </a:lnTo>
                  <a:lnTo>
                    <a:pt x="2716" y="1950"/>
                  </a:lnTo>
                  <a:lnTo>
                    <a:pt x="2731" y="1948"/>
                  </a:lnTo>
                  <a:lnTo>
                    <a:pt x="2745" y="1946"/>
                  </a:lnTo>
                  <a:lnTo>
                    <a:pt x="2759" y="1943"/>
                  </a:lnTo>
                  <a:lnTo>
                    <a:pt x="2773" y="1939"/>
                  </a:lnTo>
                  <a:lnTo>
                    <a:pt x="2779" y="1937"/>
                  </a:lnTo>
                  <a:lnTo>
                    <a:pt x="2786" y="1935"/>
                  </a:lnTo>
                  <a:lnTo>
                    <a:pt x="2798" y="1930"/>
                  </a:lnTo>
                  <a:lnTo>
                    <a:pt x="2810" y="1925"/>
                  </a:lnTo>
                  <a:lnTo>
                    <a:pt x="2822" y="1919"/>
                  </a:lnTo>
                  <a:lnTo>
                    <a:pt x="2833" y="1914"/>
                  </a:lnTo>
                  <a:lnTo>
                    <a:pt x="2844" y="1907"/>
                  </a:lnTo>
                  <a:lnTo>
                    <a:pt x="2853" y="1900"/>
                  </a:lnTo>
                  <a:lnTo>
                    <a:pt x="2863" y="1893"/>
                  </a:lnTo>
                  <a:lnTo>
                    <a:pt x="2872" y="1885"/>
                  </a:lnTo>
                  <a:lnTo>
                    <a:pt x="2879" y="1877"/>
                  </a:lnTo>
                  <a:lnTo>
                    <a:pt x="2887" y="1868"/>
                  </a:lnTo>
                  <a:lnTo>
                    <a:pt x="2895" y="1858"/>
                  </a:lnTo>
                  <a:lnTo>
                    <a:pt x="2902" y="1848"/>
                  </a:lnTo>
                  <a:lnTo>
                    <a:pt x="2907" y="1838"/>
                  </a:lnTo>
                  <a:lnTo>
                    <a:pt x="2913" y="1827"/>
                  </a:lnTo>
                  <a:lnTo>
                    <a:pt x="2918" y="1816"/>
                  </a:lnTo>
                  <a:lnTo>
                    <a:pt x="2923" y="1804"/>
                  </a:lnTo>
                  <a:lnTo>
                    <a:pt x="2926" y="1792"/>
                  </a:lnTo>
                  <a:lnTo>
                    <a:pt x="2929" y="1779"/>
                  </a:lnTo>
                  <a:lnTo>
                    <a:pt x="2932" y="1766"/>
                  </a:lnTo>
                  <a:lnTo>
                    <a:pt x="2934" y="1752"/>
                  </a:lnTo>
                  <a:lnTo>
                    <a:pt x="2936" y="1737"/>
                  </a:lnTo>
                  <a:lnTo>
                    <a:pt x="2937" y="1723"/>
                  </a:lnTo>
                  <a:lnTo>
                    <a:pt x="2937" y="1707"/>
                  </a:lnTo>
                  <a:lnTo>
                    <a:pt x="2937" y="1176"/>
                  </a:lnTo>
                  <a:lnTo>
                    <a:pt x="2764" y="1176"/>
                  </a:lnTo>
                  <a:lnTo>
                    <a:pt x="2764" y="1248"/>
                  </a:lnTo>
                  <a:lnTo>
                    <a:pt x="2762" y="1248"/>
                  </a:lnTo>
                  <a:lnTo>
                    <a:pt x="2755" y="1238"/>
                  </a:lnTo>
                  <a:lnTo>
                    <a:pt x="2748" y="1229"/>
                  </a:lnTo>
                  <a:lnTo>
                    <a:pt x="2741" y="1221"/>
                  </a:lnTo>
                  <a:lnTo>
                    <a:pt x="2733" y="1212"/>
                  </a:lnTo>
                  <a:lnTo>
                    <a:pt x="2724" y="1204"/>
                  </a:lnTo>
                  <a:lnTo>
                    <a:pt x="2715" y="1196"/>
                  </a:lnTo>
                  <a:lnTo>
                    <a:pt x="2709" y="1193"/>
                  </a:lnTo>
                  <a:lnTo>
                    <a:pt x="2705" y="1189"/>
                  </a:lnTo>
                  <a:lnTo>
                    <a:pt x="2694" y="1184"/>
                  </a:lnTo>
                  <a:lnTo>
                    <a:pt x="2684" y="1178"/>
                  </a:lnTo>
                  <a:lnTo>
                    <a:pt x="2672" y="1173"/>
                  </a:lnTo>
                  <a:lnTo>
                    <a:pt x="2659" y="1168"/>
                  </a:lnTo>
                  <a:lnTo>
                    <a:pt x="2646" y="1165"/>
                  </a:lnTo>
                  <a:lnTo>
                    <a:pt x="2633" y="1163"/>
                  </a:lnTo>
                  <a:lnTo>
                    <a:pt x="2618" y="1161"/>
                  </a:lnTo>
                  <a:lnTo>
                    <a:pt x="2604" y="1160"/>
                  </a:lnTo>
                  <a:lnTo>
                    <a:pt x="2587" y="1158"/>
                  </a:lnTo>
                  <a:lnTo>
                    <a:pt x="2575" y="1160"/>
                  </a:lnTo>
                  <a:lnTo>
                    <a:pt x="2562" y="1160"/>
                  </a:lnTo>
                  <a:lnTo>
                    <a:pt x="2537" y="1164"/>
                  </a:lnTo>
                  <a:lnTo>
                    <a:pt x="2525" y="1166"/>
                  </a:lnTo>
                  <a:lnTo>
                    <a:pt x="2513" y="1169"/>
                  </a:lnTo>
                  <a:lnTo>
                    <a:pt x="2502" y="1173"/>
                  </a:lnTo>
                  <a:lnTo>
                    <a:pt x="2491" y="1177"/>
                  </a:lnTo>
                  <a:lnTo>
                    <a:pt x="2479" y="1182"/>
                  </a:lnTo>
                  <a:lnTo>
                    <a:pt x="2468" y="1187"/>
                  </a:lnTo>
                  <a:lnTo>
                    <a:pt x="2457" y="1193"/>
                  </a:lnTo>
                  <a:lnTo>
                    <a:pt x="2447" y="1199"/>
                  </a:lnTo>
                  <a:lnTo>
                    <a:pt x="2437" y="1206"/>
                  </a:lnTo>
                  <a:lnTo>
                    <a:pt x="2428" y="1214"/>
                  </a:lnTo>
                  <a:lnTo>
                    <a:pt x="2419" y="1222"/>
                  </a:lnTo>
                  <a:lnTo>
                    <a:pt x="2411" y="1231"/>
                  </a:lnTo>
                  <a:lnTo>
                    <a:pt x="2402" y="1239"/>
                  </a:lnTo>
                  <a:lnTo>
                    <a:pt x="2394" y="1249"/>
                  </a:lnTo>
                  <a:lnTo>
                    <a:pt x="2386" y="1259"/>
                  </a:lnTo>
                  <a:lnTo>
                    <a:pt x="2379" y="1271"/>
                  </a:lnTo>
                  <a:lnTo>
                    <a:pt x="2373" y="1282"/>
                  </a:lnTo>
                  <a:lnTo>
                    <a:pt x="2366" y="1293"/>
                  </a:lnTo>
                  <a:lnTo>
                    <a:pt x="2361" y="1305"/>
                  </a:lnTo>
                  <a:lnTo>
                    <a:pt x="2356" y="1318"/>
                  </a:lnTo>
                  <a:lnTo>
                    <a:pt x="2352" y="1332"/>
                  </a:lnTo>
                  <a:lnTo>
                    <a:pt x="2347" y="1346"/>
                  </a:lnTo>
                  <a:lnTo>
                    <a:pt x="2346" y="1353"/>
                  </a:lnTo>
                  <a:lnTo>
                    <a:pt x="2344" y="1361"/>
                  </a:lnTo>
                  <a:lnTo>
                    <a:pt x="2342" y="1375"/>
                  </a:lnTo>
                  <a:lnTo>
                    <a:pt x="2340" y="1391"/>
                  </a:lnTo>
                  <a:lnTo>
                    <a:pt x="2337" y="1407"/>
                  </a:lnTo>
                  <a:lnTo>
                    <a:pt x="2336" y="1424"/>
                  </a:lnTo>
                  <a:lnTo>
                    <a:pt x="2336" y="1441"/>
                  </a:lnTo>
                  <a:lnTo>
                    <a:pt x="2336" y="1457"/>
                  </a:lnTo>
                  <a:lnTo>
                    <a:pt x="2337" y="1474"/>
                  </a:lnTo>
                  <a:lnTo>
                    <a:pt x="2338" y="1489"/>
                  </a:lnTo>
                  <a:lnTo>
                    <a:pt x="2341" y="1505"/>
                  </a:lnTo>
                  <a:lnTo>
                    <a:pt x="2344" y="1519"/>
                  </a:lnTo>
                  <a:lnTo>
                    <a:pt x="2347" y="1534"/>
                  </a:lnTo>
                  <a:lnTo>
                    <a:pt x="2352" y="1548"/>
                  </a:lnTo>
                  <a:lnTo>
                    <a:pt x="2356" y="1562"/>
                  </a:lnTo>
                  <a:lnTo>
                    <a:pt x="2361" y="1574"/>
                  </a:lnTo>
                  <a:lnTo>
                    <a:pt x="2366" y="1586"/>
                  </a:lnTo>
                  <a:lnTo>
                    <a:pt x="2372" y="1597"/>
                  </a:lnTo>
                  <a:lnTo>
                    <a:pt x="2378" y="1608"/>
                  </a:lnTo>
                  <a:lnTo>
                    <a:pt x="2386" y="1619"/>
                  </a:lnTo>
                  <a:lnTo>
                    <a:pt x="2393" y="1629"/>
                  </a:lnTo>
                  <a:lnTo>
                    <a:pt x="2401" y="1638"/>
                  </a:lnTo>
                  <a:lnTo>
                    <a:pt x="2409" y="1647"/>
                  </a:lnTo>
                  <a:lnTo>
                    <a:pt x="2418" y="1656"/>
                  </a:lnTo>
                  <a:lnTo>
                    <a:pt x="2427" y="1664"/>
                  </a:lnTo>
                  <a:lnTo>
                    <a:pt x="2436" y="1670"/>
                  </a:lnTo>
                  <a:lnTo>
                    <a:pt x="2446" y="1677"/>
                  </a:lnTo>
                  <a:lnTo>
                    <a:pt x="2456" y="1684"/>
                  </a:lnTo>
                  <a:lnTo>
                    <a:pt x="2467" y="1689"/>
                  </a:lnTo>
                  <a:lnTo>
                    <a:pt x="2477" y="1695"/>
                  </a:lnTo>
                  <a:lnTo>
                    <a:pt x="2488" y="1699"/>
                  </a:lnTo>
                  <a:lnTo>
                    <a:pt x="2501" y="1703"/>
                  </a:lnTo>
                  <a:lnTo>
                    <a:pt x="2512" y="1706"/>
                  </a:lnTo>
                  <a:lnTo>
                    <a:pt x="2524" y="1709"/>
                  </a:lnTo>
                  <a:lnTo>
                    <a:pt x="2536" y="1712"/>
                  </a:lnTo>
                  <a:lnTo>
                    <a:pt x="2548" y="1714"/>
                  </a:lnTo>
                  <a:lnTo>
                    <a:pt x="2561" y="1715"/>
                  </a:lnTo>
                  <a:lnTo>
                    <a:pt x="2574" y="1716"/>
                  </a:lnTo>
                  <a:lnTo>
                    <a:pt x="2586" y="1716"/>
                  </a:lnTo>
                  <a:lnTo>
                    <a:pt x="2603" y="1716"/>
                  </a:lnTo>
                  <a:lnTo>
                    <a:pt x="2618" y="1715"/>
                  </a:lnTo>
                  <a:lnTo>
                    <a:pt x="2634" y="1713"/>
                  </a:lnTo>
                  <a:lnTo>
                    <a:pt x="2647" y="1709"/>
                  </a:lnTo>
                  <a:lnTo>
                    <a:pt x="2661" y="1706"/>
                  </a:lnTo>
                  <a:lnTo>
                    <a:pt x="2673" y="1702"/>
                  </a:lnTo>
                  <a:lnTo>
                    <a:pt x="2685" y="1697"/>
                  </a:lnTo>
                  <a:lnTo>
                    <a:pt x="2696" y="1692"/>
                  </a:lnTo>
                  <a:lnTo>
                    <a:pt x="2706" y="1686"/>
                  </a:lnTo>
                  <a:lnTo>
                    <a:pt x="2716" y="1679"/>
                  </a:lnTo>
                  <a:lnTo>
                    <a:pt x="2725" y="1673"/>
                  </a:lnTo>
                  <a:lnTo>
                    <a:pt x="2734" y="1666"/>
                  </a:lnTo>
                  <a:lnTo>
                    <a:pt x="2742" y="1658"/>
                  </a:lnTo>
                  <a:lnTo>
                    <a:pt x="2748" y="1652"/>
                  </a:lnTo>
                  <a:lnTo>
                    <a:pt x="2755" y="1644"/>
                  </a:lnTo>
                  <a:lnTo>
                    <a:pt x="2762" y="1636"/>
                  </a:lnTo>
                  <a:lnTo>
                    <a:pt x="2764" y="1636"/>
                  </a:lnTo>
                  <a:lnTo>
                    <a:pt x="2764" y="1670"/>
                  </a:lnTo>
                  <a:lnTo>
                    <a:pt x="2763" y="1687"/>
                  </a:lnTo>
                  <a:lnTo>
                    <a:pt x="2762" y="1703"/>
                  </a:lnTo>
                  <a:lnTo>
                    <a:pt x="2759" y="1716"/>
                  </a:lnTo>
                  <a:lnTo>
                    <a:pt x="2758" y="1723"/>
                  </a:lnTo>
                  <a:lnTo>
                    <a:pt x="2756" y="1728"/>
                  </a:lnTo>
                  <a:lnTo>
                    <a:pt x="2754" y="1734"/>
                  </a:lnTo>
                  <a:lnTo>
                    <a:pt x="2752" y="1739"/>
                  </a:lnTo>
                  <a:lnTo>
                    <a:pt x="2747" y="1749"/>
                  </a:lnTo>
                  <a:lnTo>
                    <a:pt x="2741" y="1758"/>
                  </a:lnTo>
                  <a:lnTo>
                    <a:pt x="2737" y="1763"/>
                  </a:lnTo>
                  <a:lnTo>
                    <a:pt x="2734" y="1766"/>
                  </a:lnTo>
                  <a:lnTo>
                    <a:pt x="2725" y="1773"/>
                  </a:lnTo>
                  <a:lnTo>
                    <a:pt x="2716" y="1778"/>
                  </a:lnTo>
                  <a:lnTo>
                    <a:pt x="2706" y="1783"/>
                  </a:lnTo>
                  <a:lnTo>
                    <a:pt x="2695" y="1786"/>
                  </a:lnTo>
                  <a:lnTo>
                    <a:pt x="2683" y="1789"/>
                  </a:lnTo>
                  <a:lnTo>
                    <a:pt x="2668" y="1790"/>
                  </a:lnTo>
                  <a:lnTo>
                    <a:pt x="2654" y="1792"/>
                  </a:lnTo>
                  <a:lnTo>
                    <a:pt x="2638" y="1792"/>
                  </a:lnTo>
                  <a:lnTo>
                    <a:pt x="2623" y="1792"/>
                  </a:lnTo>
                  <a:lnTo>
                    <a:pt x="2605" y="1790"/>
                  </a:lnTo>
                  <a:lnTo>
                    <a:pt x="2585" y="1789"/>
                  </a:lnTo>
                  <a:lnTo>
                    <a:pt x="2563" y="1787"/>
                  </a:lnTo>
                  <a:lnTo>
                    <a:pt x="2538" y="1783"/>
                  </a:lnTo>
                  <a:lnTo>
                    <a:pt x="2513" y="1778"/>
                  </a:lnTo>
                  <a:lnTo>
                    <a:pt x="2484" y="1773"/>
                  </a:lnTo>
                  <a:lnTo>
                    <a:pt x="2452" y="1766"/>
                  </a:lnTo>
                  <a:lnTo>
                    <a:pt x="2424" y="1928"/>
                  </a:lnTo>
                  <a:lnTo>
                    <a:pt x="2456" y="1934"/>
                  </a:lnTo>
                  <a:lnTo>
                    <a:pt x="2489" y="1939"/>
                  </a:lnTo>
                  <a:lnTo>
                    <a:pt x="2521" y="1944"/>
                  </a:lnTo>
                  <a:lnTo>
                    <a:pt x="2551" y="1948"/>
                  </a:lnTo>
                  <a:lnTo>
                    <a:pt x="2578" y="1950"/>
                  </a:lnTo>
                  <a:lnTo>
                    <a:pt x="2605" y="1953"/>
                  </a:lnTo>
                  <a:lnTo>
                    <a:pt x="2629" y="1954"/>
                  </a:lnTo>
                  <a:lnTo>
                    <a:pt x="2651" y="1954"/>
                  </a:lnTo>
                  <a:close/>
                  <a:moveTo>
                    <a:pt x="2636" y="1566"/>
                  </a:moveTo>
                  <a:lnTo>
                    <a:pt x="2623" y="1565"/>
                  </a:lnTo>
                  <a:lnTo>
                    <a:pt x="2617" y="1565"/>
                  </a:lnTo>
                  <a:lnTo>
                    <a:pt x="2611" y="1564"/>
                  </a:lnTo>
                  <a:lnTo>
                    <a:pt x="2599" y="1560"/>
                  </a:lnTo>
                  <a:lnTo>
                    <a:pt x="2594" y="1559"/>
                  </a:lnTo>
                  <a:lnTo>
                    <a:pt x="2588" y="1557"/>
                  </a:lnTo>
                  <a:lnTo>
                    <a:pt x="2577" y="1552"/>
                  </a:lnTo>
                  <a:lnTo>
                    <a:pt x="2567" y="1546"/>
                  </a:lnTo>
                  <a:lnTo>
                    <a:pt x="2563" y="1543"/>
                  </a:lnTo>
                  <a:lnTo>
                    <a:pt x="2558" y="1539"/>
                  </a:lnTo>
                  <a:lnTo>
                    <a:pt x="2549" y="1532"/>
                  </a:lnTo>
                  <a:lnTo>
                    <a:pt x="2542" y="1524"/>
                  </a:lnTo>
                  <a:lnTo>
                    <a:pt x="2535" y="1514"/>
                  </a:lnTo>
                  <a:lnTo>
                    <a:pt x="2528" y="1504"/>
                  </a:lnTo>
                  <a:lnTo>
                    <a:pt x="2526" y="1498"/>
                  </a:lnTo>
                  <a:lnTo>
                    <a:pt x="2524" y="1493"/>
                  </a:lnTo>
                  <a:lnTo>
                    <a:pt x="2519" y="1482"/>
                  </a:lnTo>
                  <a:lnTo>
                    <a:pt x="2516" y="1468"/>
                  </a:lnTo>
                  <a:lnTo>
                    <a:pt x="2515" y="1462"/>
                  </a:lnTo>
                  <a:lnTo>
                    <a:pt x="2515" y="1455"/>
                  </a:lnTo>
                  <a:lnTo>
                    <a:pt x="2514" y="1442"/>
                  </a:lnTo>
                  <a:lnTo>
                    <a:pt x="2515" y="1427"/>
                  </a:lnTo>
                  <a:lnTo>
                    <a:pt x="2516" y="1415"/>
                  </a:lnTo>
                  <a:lnTo>
                    <a:pt x="2518" y="1408"/>
                  </a:lnTo>
                  <a:lnTo>
                    <a:pt x="2519" y="1402"/>
                  </a:lnTo>
                  <a:lnTo>
                    <a:pt x="2524" y="1391"/>
                  </a:lnTo>
                  <a:lnTo>
                    <a:pt x="2526" y="1385"/>
                  </a:lnTo>
                  <a:lnTo>
                    <a:pt x="2528" y="1379"/>
                  </a:lnTo>
                  <a:lnTo>
                    <a:pt x="2535" y="1369"/>
                  </a:lnTo>
                  <a:lnTo>
                    <a:pt x="2542" y="1359"/>
                  </a:lnTo>
                  <a:lnTo>
                    <a:pt x="2549" y="1351"/>
                  </a:lnTo>
                  <a:lnTo>
                    <a:pt x="2554" y="1347"/>
                  </a:lnTo>
                  <a:lnTo>
                    <a:pt x="2558" y="1344"/>
                  </a:lnTo>
                  <a:lnTo>
                    <a:pt x="2563" y="1341"/>
                  </a:lnTo>
                  <a:lnTo>
                    <a:pt x="2567" y="1337"/>
                  </a:lnTo>
                  <a:lnTo>
                    <a:pt x="2577" y="1331"/>
                  </a:lnTo>
                  <a:lnTo>
                    <a:pt x="2588" y="1326"/>
                  </a:lnTo>
                  <a:lnTo>
                    <a:pt x="2599" y="1323"/>
                  </a:lnTo>
                  <a:lnTo>
                    <a:pt x="2611" y="1319"/>
                  </a:lnTo>
                  <a:lnTo>
                    <a:pt x="2617" y="1318"/>
                  </a:lnTo>
                  <a:lnTo>
                    <a:pt x="2623" y="1318"/>
                  </a:lnTo>
                  <a:lnTo>
                    <a:pt x="2636" y="1317"/>
                  </a:lnTo>
                  <a:lnTo>
                    <a:pt x="2649" y="1318"/>
                  </a:lnTo>
                  <a:lnTo>
                    <a:pt x="2662" y="1319"/>
                  </a:lnTo>
                  <a:lnTo>
                    <a:pt x="2674" y="1323"/>
                  </a:lnTo>
                  <a:lnTo>
                    <a:pt x="2679" y="1324"/>
                  </a:lnTo>
                  <a:lnTo>
                    <a:pt x="2685" y="1326"/>
                  </a:lnTo>
                  <a:lnTo>
                    <a:pt x="2696" y="1331"/>
                  </a:lnTo>
                  <a:lnTo>
                    <a:pt x="2701" y="1334"/>
                  </a:lnTo>
                  <a:lnTo>
                    <a:pt x="2706" y="1337"/>
                  </a:lnTo>
                  <a:lnTo>
                    <a:pt x="2711" y="1341"/>
                  </a:lnTo>
                  <a:lnTo>
                    <a:pt x="2715" y="1344"/>
                  </a:lnTo>
                  <a:lnTo>
                    <a:pt x="2724" y="1351"/>
                  </a:lnTo>
                  <a:lnTo>
                    <a:pt x="2732" y="1359"/>
                  </a:lnTo>
                  <a:lnTo>
                    <a:pt x="2738" y="1369"/>
                  </a:lnTo>
                  <a:lnTo>
                    <a:pt x="2745" y="1379"/>
                  </a:lnTo>
                  <a:lnTo>
                    <a:pt x="2747" y="1385"/>
                  </a:lnTo>
                  <a:lnTo>
                    <a:pt x="2749" y="1391"/>
                  </a:lnTo>
                  <a:lnTo>
                    <a:pt x="2754" y="1402"/>
                  </a:lnTo>
                  <a:lnTo>
                    <a:pt x="2756" y="1415"/>
                  </a:lnTo>
                  <a:lnTo>
                    <a:pt x="2757" y="1421"/>
                  </a:lnTo>
                  <a:lnTo>
                    <a:pt x="2758" y="1427"/>
                  </a:lnTo>
                  <a:lnTo>
                    <a:pt x="2759" y="1442"/>
                  </a:lnTo>
                  <a:lnTo>
                    <a:pt x="2758" y="1455"/>
                  </a:lnTo>
                  <a:lnTo>
                    <a:pt x="2756" y="1468"/>
                  </a:lnTo>
                  <a:lnTo>
                    <a:pt x="2755" y="1475"/>
                  </a:lnTo>
                  <a:lnTo>
                    <a:pt x="2754" y="1482"/>
                  </a:lnTo>
                  <a:lnTo>
                    <a:pt x="2749" y="1493"/>
                  </a:lnTo>
                  <a:lnTo>
                    <a:pt x="2747" y="1498"/>
                  </a:lnTo>
                  <a:lnTo>
                    <a:pt x="2745" y="1504"/>
                  </a:lnTo>
                  <a:lnTo>
                    <a:pt x="2738" y="1514"/>
                  </a:lnTo>
                  <a:lnTo>
                    <a:pt x="2732" y="1524"/>
                  </a:lnTo>
                  <a:lnTo>
                    <a:pt x="2724" y="1532"/>
                  </a:lnTo>
                  <a:lnTo>
                    <a:pt x="2719" y="1536"/>
                  </a:lnTo>
                  <a:lnTo>
                    <a:pt x="2715" y="1539"/>
                  </a:lnTo>
                  <a:lnTo>
                    <a:pt x="2711" y="1543"/>
                  </a:lnTo>
                  <a:lnTo>
                    <a:pt x="2706" y="1546"/>
                  </a:lnTo>
                  <a:lnTo>
                    <a:pt x="2696" y="1552"/>
                  </a:lnTo>
                  <a:lnTo>
                    <a:pt x="2685" y="1557"/>
                  </a:lnTo>
                  <a:lnTo>
                    <a:pt x="2674" y="1560"/>
                  </a:lnTo>
                  <a:lnTo>
                    <a:pt x="2662" y="1564"/>
                  </a:lnTo>
                  <a:lnTo>
                    <a:pt x="2649" y="1565"/>
                  </a:lnTo>
                  <a:lnTo>
                    <a:pt x="2636" y="1566"/>
                  </a:lnTo>
                  <a:close/>
                  <a:moveTo>
                    <a:pt x="3254" y="1160"/>
                  </a:moveTo>
                  <a:lnTo>
                    <a:pt x="3239" y="1161"/>
                  </a:lnTo>
                  <a:lnTo>
                    <a:pt x="3224" y="1162"/>
                  </a:lnTo>
                  <a:lnTo>
                    <a:pt x="3209" y="1163"/>
                  </a:lnTo>
                  <a:lnTo>
                    <a:pt x="3195" y="1165"/>
                  </a:lnTo>
                  <a:lnTo>
                    <a:pt x="3181" y="1167"/>
                  </a:lnTo>
                  <a:lnTo>
                    <a:pt x="3167" y="1171"/>
                  </a:lnTo>
                  <a:lnTo>
                    <a:pt x="3154" y="1175"/>
                  </a:lnTo>
                  <a:lnTo>
                    <a:pt x="3141" y="1179"/>
                  </a:lnTo>
                  <a:lnTo>
                    <a:pt x="3129" y="1184"/>
                  </a:lnTo>
                  <a:lnTo>
                    <a:pt x="3117" y="1189"/>
                  </a:lnTo>
                  <a:lnTo>
                    <a:pt x="3105" y="1196"/>
                  </a:lnTo>
                  <a:lnTo>
                    <a:pt x="3094" y="1203"/>
                  </a:lnTo>
                  <a:lnTo>
                    <a:pt x="3083" y="1209"/>
                  </a:lnTo>
                  <a:lnTo>
                    <a:pt x="3073" y="1217"/>
                  </a:lnTo>
                  <a:lnTo>
                    <a:pt x="3063" y="1226"/>
                  </a:lnTo>
                  <a:lnTo>
                    <a:pt x="3053" y="1235"/>
                  </a:lnTo>
                  <a:lnTo>
                    <a:pt x="3044" y="1244"/>
                  </a:lnTo>
                  <a:lnTo>
                    <a:pt x="3035" y="1254"/>
                  </a:lnTo>
                  <a:lnTo>
                    <a:pt x="3027" y="1264"/>
                  </a:lnTo>
                  <a:lnTo>
                    <a:pt x="3019" y="1275"/>
                  </a:lnTo>
                  <a:lnTo>
                    <a:pt x="3013" y="1287"/>
                  </a:lnTo>
                  <a:lnTo>
                    <a:pt x="3006" y="1298"/>
                  </a:lnTo>
                  <a:lnTo>
                    <a:pt x="3003" y="1305"/>
                  </a:lnTo>
                  <a:lnTo>
                    <a:pt x="2999" y="1311"/>
                  </a:lnTo>
                  <a:lnTo>
                    <a:pt x="2995" y="1324"/>
                  </a:lnTo>
                  <a:lnTo>
                    <a:pt x="2989" y="1337"/>
                  </a:lnTo>
                  <a:lnTo>
                    <a:pt x="2986" y="1352"/>
                  </a:lnTo>
                  <a:lnTo>
                    <a:pt x="2982" y="1365"/>
                  </a:lnTo>
                  <a:lnTo>
                    <a:pt x="2979" y="1381"/>
                  </a:lnTo>
                  <a:lnTo>
                    <a:pt x="2977" y="1395"/>
                  </a:lnTo>
                  <a:lnTo>
                    <a:pt x="2975" y="1412"/>
                  </a:lnTo>
                  <a:lnTo>
                    <a:pt x="2974" y="1427"/>
                  </a:lnTo>
                  <a:lnTo>
                    <a:pt x="2974" y="1444"/>
                  </a:lnTo>
                  <a:lnTo>
                    <a:pt x="2974" y="1459"/>
                  </a:lnTo>
                  <a:lnTo>
                    <a:pt x="2975" y="1475"/>
                  </a:lnTo>
                  <a:lnTo>
                    <a:pt x="2977" y="1489"/>
                  </a:lnTo>
                  <a:lnTo>
                    <a:pt x="2979" y="1505"/>
                  </a:lnTo>
                  <a:lnTo>
                    <a:pt x="2982" y="1518"/>
                  </a:lnTo>
                  <a:lnTo>
                    <a:pt x="2986" y="1533"/>
                  </a:lnTo>
                  <a:lnTo>
                    <a:pt x="2990" y="1546"/>
                  </a:lnTo>
                  <a:lnTo>
                    <a:pt x="2993" y="1553"/>
                  </a:lnTo>
                  <a:lnTo>
                    <a:pt x="2995" y="1559"/>
                  </a:lnTo>
                  <a:lnTo>
                    <a:pt x="3000" y="1572"/>
                  </a:lnTo>
                  <a:lnTo>
                    <a:pt x="3006" y="1584"/>
                  </a:lnTo>
                  <a:lnTo>
                    <a:pt x="3013" y="1596"/>
                  </a:lnTo>
                  <a:lnTo>
                    <a:pt x="3020" y="1607"/>
                  </a:lnTo>
                  <a:lnTo>
                    <a:pt x="3028" y="1617"/>
                  </a:lnTo>
                  <a:lnTo>
                    <a:pt x="3037" y="1628"/>
                  </a:lnTo>
                  <a:lnTo>
                    <a:pt x="3046" y="1638"/>
                  </a:lnTo>
                  <a:lnTo>
                    <a:pt x="3055" y="1647"/>
                  </a:lnTo>
                  <a:lnTo>
                    <a:pt x="3065" y="1656"/>
                  </a:lnTo>
                  <a:lnTo>
                    <a:pt x="3076" y="1665"/>
                  </a:lnTo>
                  <a:lnTo>
                    <a:pt x="3086" y="1673"/>
                  </a:lnTo>
                  <a:lnTo>
                    <a:pt x="3098" y="1680"/>
                  </a:lnTo>
                  <a:lnTo>
                    <a:pt x="3110" y="1687"/>
                  </a:lnTo>
                  <a:lnTo>
                    <a:pt x="3123" y="1693"/>
                  </a:lnTo>
                  <a:lnTo>
                    <a:pt x="3135" y="1699"/>
                  </a:lnTo>
                  <a:lnTo>
                    <a:pt x="3148" y="1704"/>
                  </a:lnTo>
                  <a:lnTo>
                    <a:pt x="3163" y="1709"/>
                  </a:lnTo>
                  <a:lnTo>
                    <a:pt x="3177" y="1713"/>
                  </a:lnTo>
                  <a:lnTo>
                    <a:pt x="3191" y="1716"/>
                  </a:lnTo>
                  <a:lnTo>
                    <a:pt x="3206" y="1719"/>
                  </a:lnTo>
                  <a:lnTo>
                    <a:pt x="3221" y="1722"/>
                  </a:lnTo>
                  <a:lnTo>
                    <a:pt x="3237" y="1723"/>
                  </a:lnTo>
                  <a:lnTo>
                    <a:pt x="3254" y="1724"/>
                  </a:lnTo>
                  <a:lnTo>
                    <a:pt x="3270" y="1724"/>
                  </a:lnTo>
                  <a:lnTo>
                    <a:pt x="3287" y="1724"/>
                  </a:lnTo>
                  <a:lnTo>
                    <a:pt x="3304" y="1723"/>
                  </a:lnTo>
                  <a:lnTo>
                    <a:pt x="3319" y="1722"/>
                  </a:lnTo>
                  <a:lnTo>
                    <a:pt x="3335" y="1719"/>
                  </a:lnTo>
                  <a:lnTo>
                    <a:pt x="3350" y="1717"/>
                  </a:lnTo>
                  <a:lnTo>
                    <a:pt x="3365" y="1714"/>
                  </a:lnTo>
                  <a:lnTo>
                    <a:pt x="3379" y="1710"/>
                  </a:lnTo>
                  <a:lnTo>
                    <a:pt x="3393" y="1706"/>
                  </a:lnTo>
                  <a:lnTo>
                    <a:pt x="3406" y="1702"/>
                  </a:lnTo>
                  <a:lnTo>
                    <a:pt x="3419" y="1697"/>
                  </a:lnTo>
                  <a:lnTo>
                    <a:pt x="3445" y="1686"/>
                  </a:lnTo>
                  <a:lnTo>
                    <a:pt x="3456" y="1680"/>
                  </a:lnTo>
                  <a:lnTo>
                    <a:pt x="3468" y="1675"/>
                  </a:lnTo>
                  <a:lnTo>
                    <a:pt x="3489" y="1663"/>
                  </a:lnTo>
                  <a:lnTo>
                    <a:pt x="3426" y="1532"/>
                  </a:lnTo>
                  <a:lnTo>
                    <a:pt x="3413" y="1539"/>
                  </a:lnTo>
                  <a:lnTo>
                    <a:pt x="3397" y="1548"/>
                  </a:lnTo>
                  <a:lnTo>
                    <a:pt x="3380" y="1556"/>
                  </a:lnTo>
                  <a:lnTo>
                    <a:pt x="3361" y="1564"/>
                  </a:lnTo>
                  <a:lnTo>
                    <a:pt x="3340" y="1570"/>
                  </a:lnTo>
                  <a:lnTo>
                    <a:pt x="3330" y="1573"/>
                  </a:lnTo>
                  <a:lnTo>
                    <a:pt x="3319" y="1575"/>
                  </a:lnTo>
                  <a:lnTo>
                    <a:pt x="3308" y="1577"/>
                  </a:lnTo>
                  <a:lnTo>
                    <a:pt x="3296" y="1578"/>
                  </a:lnTo>
                  <a:lnTo>
                    <a:pt x="3285" y="1579"/>
                  </a:lnTo>
                  <a:lnTo>
                    <a:pt x="3273" y="1579"/>
                  </a:lnTo>
                  <a:lnTo>
                    <a:pt x="3259" y="1579"/>
                  </a:lnTo>
                  <a:lnTo>
                    <a:pt x="3247" y="1578"/>
                  </a:lnTo>
                  <a:lnTo>
                    <a:pt x="3235" y="1576"/>
                  </a:lnTo>
                  <a:lnTo>
                    <a:pt x="3223" y="1574"/>
                  </a:lnTo>
                  <a:lnTo>
                    <a:pt x="3217" y="1573"/>
                  </a:lnTo>
                  <a:lnTo>
                    <a:pt x="3211" y="1570"/>
                  </a:lnTo>
                  <a:lnTo>
                    <a:pt x="3201" y="1566"/>
                  </a:lnTo>
                  <a:lnTo>
                    <a:pt x="3191" y="1562"/>
                  </a:lnTo>
                  <a:lnTo>
                    <a:pt x="3183" y="1556"/>
                  </a:lnTo>
                  <a:lnTo>
                    <a:pt x="3174" y="1549"/>
                  </a:lnTo>
                  <a:lnTo>
                    <a:pt x="3166" y="1543"/>
                  </a:lnTo>
                  <a:lnTo>
                    <a:pt x="3159" y="1535"/>
                  </a:lnTo>
                  <a:lnTo>
                    <a:pt x="3153" y="1526"/>
                  </a:lnTo>
                  <a:lnTo>
                    <a:pt x="3147" y="1516"/>
                  </a:lnTo>
                  <a:lnTo>
                    <a:pt x="3143" y="1506"/>
                  </a:lnTo>
                  <a:lnTo>
                    <a:pt x="3139" y="1495"/>
                  </a:lnTo>
                  <a:lnTo>
                    <a:pt x="3138" y="1489"/>
                  </a:lnTo>
                  <a:lnTo>
                    <a:pt x="3137" y="1483"/>
                  </a:lnTo>
                  <a:lnTo>
                    <a:pt x="3517" y="1483"/>
                  </a:lnTo>
                  <a:lnTo>
                    <a:pt x="3517" y="1444"/>
                  </a:lnTo>
                  <a:lnTo>
                    <a:pt x="3517" y="1426"/>
                  </a:lnTo>
                  <a:lnTo>
                    <a:pt x="3516" y="1409"/>
                  </a:lnTo>
                  <a:lnTo>
                    <a:pt x="3515" y="1393"/>
                  </a:lnTo>
                  <a:lnTo>
                    <a:pt x="3512" y="1376"/>
                  </a:lnTo>
                  <a:lnTo>
                    <a:pt x="3509" y="1362"/>
                  </a:lnTo>
                  <a:lnTo>
                    <a:pt x="3508" y="1354"/>
                  </a:lnTo>
                  <a:lnTo>
                    <a:pt x="3507" y="1346"/>
                  </a:lnTo>
                  <a:lnTo>
                    <a:pt x="3502" y="1332"/>
                  </a:lnTo>
                  <a:lnTo>
                    <a:pt x="3498" y="1318"/>
                  </a:lnTo>
                  <a:lnTo>
                    <a:pt x="3494" y="1305"/>
                  </a:lnTo>
                  <a:lnTo>
                    <a:pt x="3488" y="1293"/>
                  </a:lnTo>
                  <a:lnTo>
                    <a:pt x="3483" y="1281"/>
                  </a:lnTo>
                  <a:lnTo>
                    <a:pt x="3476" y="1269"/>
                  </a:lnTo>
                  <a:lnTo>
                    <a:pt x="3469" y="1259"/>
                  </a:lnTo>
                  <a:lnTo>
                    <a:pt x="3461" y="1248"/>
                  </a:lnTo>
                  <a:lnTo>
                    <a:pt x="3454" y="1239"/>
                  </a:lnTo>
                  <a:lnTo>
                    <a:pt x="3446" y="1229"/>
                  </a:lnTo>
                  <a:lnTo>
                    <a:pt x="3437" y="1222"/>
                  </a:lnTo>
                  <a:lnTo>
                    <a:pt x="3427" y="1214"/>
                  </a:lnTo>
                  <a:lnTo>
                    <a:pt x="3418" y="1206"/>
                  </a:lnTo>
                  <a:lnTo>
                    <a:pt x="3407" y="1199"/>
                  </a:lnTo>
                  <a:lnTo>
                    <a:pt x="3397" y="1193"/>
                  </a:lnTo>
                  <a:lnTo>
                    <a:pt x="3386" y="1187"/>
                  </a:lnTo>
                  <a:lnTo>
                    <a:pt x="3375" y="1182"/>
                  </a:lnTo>
                  <a:lnTo>
                    <a:pt x="3363" y="1177"/>
                  </a:lnTo>
                  <a:lnTo>
                    <a:pt x="3350" y="1173"/>
                  </a:lnTo>
                  <a:lnTo>
                    <a:pt x="3337" y="1169"/>
                  </a:lnTo>
                  <a:lnTo>
                    <a:pt x="3325" y="1167"/>
                  </a:lnTo>
                  <a:lnTo>
                    <a:pt x="3311" y="1164"/>
                  </a:lnTo>
                  <a:lnTo>
                    <a:pt x="3297" y="1163"/>
                  </a:lnTo>
                  <a:lnTo>
                    <a:pt x="3284" y="1161"/>
                  </a:lnTo>
                  <a:lnTo>
                    <a:pt x="3269" y="1161"/>
                  </a:lnTo>
                  <a:lnTo>
                    <a:pt x="3254" y="1160"/>
                  </a:lnTo>
                  <a:close/>
                  <a:moveTo>
                    <a:pt x="3248" y="1283"/>
                  </a:moveTo>
                  <a:lnTo>
                    <a:pt x="3258" y="1284"/>
                  </a:lnTo>
                  <a:lnTo>
                    <a:pt x="3268" y="1285"/>
                  </a:lnTo>
                  <a:lnTo>
                    <a:pt x="3278" y="1287"/>
                  </a:lnTo>
                  <a:lnTo>
                    <a:pt x="3287" y="1289"/>
                  </a:lnTo>
                  <a:lnTo>
                    <a:pt x="3296" y="1293"/>
                  </a:lnTo>
                  <a:lnTo>
                    <a:pt x="3305" y="1297"/>
                  </a:lnTo>
                  <a:lnTo>
                    <a:pt x="3311" y="1303"/>
                  </a:lnTo>
                  <a:lnTo>
                    <a:pt x="3319" y="1308"/>
                  </a:lnTo>
                  <a:lnTo>
                    <a:pt x="3323" y="1312"/>
                  </a:lnTo>
                  <a:lnTo>
                    <a:pt x="3326" y="1315"/>
                  </a:lnTo>
                  <a:lnTo>
                    <a:pt x="3331" y="1323"/>
                  </a:lnTo>
                  <a:lnTo>
                    <a:pt x="3336" y="1331"/>
                  </a:lnTo>
                  <a:lnTo>
                    <a:pt x="3340" y="1339"/>
                  </a:lnTo>
                  <a:lnTo>
                    <a:pt x="3344" y="1348"/>
                  </a:lnTo>
                  <a:lnTo>
                    <a:pt x="3347" y="1358"/>
                  </a:lnTo>
                  <a:lnTo>
                    <a:pt x="3348" y="1364"/>
                  </a:lnTo>
                  <a:lnTo>
                    <a:pt x="3348" y="1369"/>
                  </a:lnTo>
                  <a:lnTo>
                    <a:pt x="3349" y="1375"/>
                  </a:lnTo>
                  <a:lnTo>
                    <a:pt x="3349" y="1381"/>
                  </a:lnTo>
                  <a:lnTo>
                    <a:pt x="3138" y="1381"/>
                  </a:lnTo>
                  <a:lnTo>
                    <a:pt x="3139" y="1368"/>
                  </a:lnTo>
                  <a:lnTo>
                    <a:pt x="3143" y="1357"/>
                  </a:lnTo>
                  <a:lnTo>
                    <a:pt x="3146" y="1346"/>
                  </a:lnTo>
                  <a:lnTo>
                    <a:pt x="3150" y="1336"/>
                  </a:lnTo>
                  <a:lnTo>
                    <a:pt x="3153" y="1332"/>
                  </a:lnTo>
                  <a:lnTo>
                    <a:pt x="3155" y="1327"/>
                  </a:lnTo>
                  <a:lnTo>
                    <a:pt x="3160" y="1319"/>
                  </a:lnTo>
                  <a:lnTo>
                    <a:pt x="3167" y="1313"/>
                  </a:lnTo>
                  <a:lnTo>
                    <a:pt x="3174" y="1306"/>
                  </a:lnTo>
                  <a:lnTo>
                    <a:pt x="3181" y="1301"/>
                  </a:lnTo>
                  <a:lnTo>
                    <a:pt x="3189" y="1296"/>
                  </a:lnTo>
                  <a:lnTo>
                    <a:pt x="3198" y="1292"/>
                  </a:lnTo>
                  <a:lnTo>
                    <a:pt x="3207" y="1288"/>
                  </a:lnTo>
                  <a:lnTo>
                    <a:pt x="3217" y="1286"/>
                  </a:lnTo>
                  <a:lnTo>
                    <a:pt x="3227" y="1284"/>
                  </a:lnTo>
                  <a:lnTo>
                    <a:pt x="3237" y="1283"/>
                  </a:lnTo>
                  <a:lnTo>
                    <a:pt x="3248" y="1283"/>
                  </a:lnTo>
                  <a:close/>
                  <a:moveTo>
                    <a:pt x="292" y="601"/>
                  </a:moveTo>
                  <a:lnTo>
                    <a:pt x="292" y="614"/>
                  </a:lnTo>
                  <a:lnTo>
                    <a:pt x="292" y="626"/>
                  </a:lnTo>
                  <a:lnTo>
                    <a:pt x="290" y="651"/>
                  </a:lnTo>
                  <a:lnTo>
                    <a:pt x="288" y="662"/>
                  </a:lnTo>
                  <a:lnTo>
                    <a:pt x="286" y="672"/>
                  </a:lnTo>
                  <a:lnTo>
                    <a:pt x="283" y="683"/>
                  </a:lnTo>
                  <a:lnTo>
                    <a:pt x="280" y="693"/>
                  </a:lnTo>
                  <a:lnTo>
                    <a:pt x="277" y="702"/>
                  </a:lnTo>
                  <a:lnTo>
                    <a:pt x="273" y="712"/>
                  </a:lnTo>
                  <a:lnTo>
                    <a:pt x="269" y="721"/>
                  </a:lnTo>
                  <a:lnTo>
                    <a:pt x="265" y="729"/>
                  </a:lnTo>
                  <a:lnTo>
                    <a:pt x="259" y="736"/>
                  </a:lnTo>
                  <a:lnTo>
                    <a:pt x="253" y="744"/>
                  </a:lnTo>
                  <a:lnTo>
                    <a:pt x="248" y="751"/>
                  </a:lnTo>
                  <a:lnTo>
                    <a:pt x="242" y="757"/>
                  </a:lnTo>
                  <a:lnTo>
                    <a:pt x="236" y="763"/>
                  </a:lnTo>
                  <a:lnTo>
                    <a:pt x="228" y="770"/>
                  </a:lnTo>
                  <a:lnTo>
                    <a:pt x="221" y="774"/>
                  </a:lnTo>
                  <a:lnTo>
                    <a:pt x="213" y="780"/>
                  </a:lnTo>
                  <a:lnTo>
                    <a:pt x="205" y="784"/>
                  </a:lnTo>
                  <a:lnTo>
                    <a:pt x="196" y="789"/>
                  </a:lnTo>
                  <a:lnTo>
                    <a:pt x="187" y="792"/>
                  </a:lnTo>
                  <a:lnTo>
                    <a:pt x="178" y="795"/>
                  </a:lnTo>
                  <a:lnTo>
                    <a:pt x="168" y="797"/>
                  </a:lnTo>
                  <a:lnTo>
                    <a:pt x="157" y="801"/>
                  </a:lnTo>
                  <a:lnTo>
                    <a:pt x="147" y="803"/>
                  </a:lnTo>
                  <a:lnTo>
                    <a:pt x="136" y="804"/>
                  </a:lnTo>
                  <a:lnTo>
                    <a:pt x="123" y="805"/>
                  </a:lnTo>
                  <a:lnTo>
                    <a:pt x="111" y="806"/>
                  </a:lnTo>
                  <a:lnTo>
                    <a:pt x="99" y="807"/>
                  </a:lnTo>
                  <a:lnTo>
                    <a:pt x="86" y="807"/>
                  </a:lnTo>
                  <a:lnTo>
                    <a:pt x="29" y="807"/>
                  </a:lnTo>
                  <a:lnTo>
                    <a:pt x="29" y="641"/>
                  </a:lnTo>
                  <a:lnTo>
                    <a:pt x="68" y="641"/>
                  </a:lnTo>
                  <a:lnTo>
                    <a:pt x="78" y="640"/>
                  </a:lnTo>
                  <a:lnTo>
                    <a:pt x="82" y="639"/>
                  </a:lnTo>
                  <a:lnTo>
                    <a:pt x="87" y="637"/>
                  </a:lnTo>
                  <a:lnTo>
                    <a:pt x="91" y="635"/>
                  </a:lnTo>
                  <a:lnTo>
                    <a:pt x="96" y="633"/>
                  </a:lnTo>
                  <a:lnTo>
                    <a:pt x="99" y="630"/>
                  </a:lnTo>
                  <a:lnTo>
                    <a:pt x="102" y="626"/>
                  </a:lnTo>
                  <a:lnTo>
                    <a:pt x="108" y="619"/>
                  </a:lnTo>
                  <a:lnTo>
                    <a:pt x="110" y="614"/>
                  </a:lnTo>
                  <a:lnTo>
                    <a:pt x="111" y="610"/>
                  </a:lnTo>
                  <a:lnTo>
                    <a:pt x="112" y="604"/>
                  </a:lnTo>
                  <a:lnTo>
                    <a:pt x="113" y="597"/>
                  </a:lnTo>
                  <a:lnTo>
                    <a:pt x="115" y="591"/>
                  </a:lnTo>
                  <a:lnTo>
                    <a:pt x="115" y="584"/>
                  </a:lnTo>
                  <a:lnTo>
                    <a:pt x="115" y="0"/>
                  </a:lnTo>
                  <a:lnTo>
                    <a:pt x="292" y="0"/>
                  </a:lnTo>
                  <a:lnTo>
                    <a:pt x="292" y="601"/>
                  </a:lnTo>
                  <a:close/>
                  <a:moveTo>
                    <a:pt x="929" y="539"/>
                  </a:moveTo>
                  <a:lnTo>
                    <a:pt x="929" y="554"/>
                  </a:lnTo>
                  <a:lnTo>
                    <a:pt x="928" y="570"/>
                  </a:lnTo>
                  <a:lnTo>
                    <a:pt x="925" y="584"/>
                  </a:lnTo>
                  <a:lnTo>
                    <a:pt x="923" y="600"/>
                  </a:lnTo>
                  <a:lnTo>
                    <a:pt x="920" y="614"/>
                  </a:lnTo>
                  <a:lnTo>
                    <a:pt x="917" y="627"/>
                  </a:lnTo>
                  <a:lnTo>
                    <a:pt x="912" y="641"/>
                  </a:lnTo>
                  <a:lnTo>
                    <a:pt x="907" y="654"/>
                  </a:lnTo>
                  <a:lnTo>
                    <a:pt x="901" y="667"/>
                  </a:lnTo>
                  <a:lnTo>
                    <a:pt x="894" y="680"/>
                  </a:lnTo>
                  <a:lnTo>
                    <a:pt x="888" y="691"/>
                  </a:lnTo>
                  <a:lnTo>
                    <a:pt x="880" y="703"/>
                  </a:lnTo>
                  <a:lnTo>
                    <a:pt x="872" y="713"/>
                  </a:lnTo>
                  <a:lnTo>
                    <a:pt x="863" y="724"/>
                  </a:lnTo>
                  <a:lnTo>
                    <a:pt x="854" y="734"/>
                  </a:lnTo>
                  <a:lnTo>
                    <a:pt x="844" y="743"/>
                  </a:lnTo>
                  <a:lnTo>
                    <a:pt x="834" y="753"/>
                  </a:lnTo>
                  <a:lnTo>
                    <a:pt x="823" y="761"/>
                  </a:lnTo>
                  <a:lnTo>
                    <a:pt x="812" y="769"/>
                  </a:lnTo>
                  <a:lnTo>
                    <a:pt x="800" y="776"/>
                  </a:lnTo>
                  <a:lnTo>
                    <a:pt x="789" y="783"/>
                  </a:lnTo>
                  <a:lnTo>
                    <a:pt x="776" y="790"/>
                  </a:lnTo>
                  <a:lnTo>
                    <a:pt x="763" y="795"/>
                  </a:lnTo>
                  <a:lnTo>
                    <a:pt x="750" y="801"/>
                  </a:lnTo>
                  <a:lnTo>
                    <a:pt x="736" y="805"/>
                  </a:lnTo>
                  <a:lnTo>
                    <a:pt x="722" y="810"/>
                  </a:lnTo>
                  <a:lnTo>
                    <a:pt x="708" y="813"/>
                  </a:lnTo>
                  <a:lnTo>
                    <a:pt x="692" y="816"/>
                  </a:lnTo>
                  <a:lnTo>
                    <a:pt x="678" y="819"/>
                  </a:lnTo>
                  <a:lnTo>
                    <a:pt x="662" y="820"/>
                  </a:lnTo>
                  <a:lnTo>
                    <a:pt x="647" y="821"/>
                  </a:lnTo>
                  <a:lnTo>
                    <a:pt x="630" y="821"/>
                  </a:lnTo>
                  <a:lnTo>
                    <a:pt x="614" y="821"/>
                  </a:lnTo>
                  <a:lnTo>
                    <a:pt x="599" y="820"/>
                  </a:lnTo>
                  <a:lnTo>
                    <a:pt x="583" y="819"/>
                  </a:lnTo>
                  <a:lnTo>
                    <a:pt x="568" y="816"/>
                  </a:lnTo>
                  <a:lnTo>
                    <a:pt x="553" y="813"/>
                  </a:lnTo>
                  <a:lnTo>
                    <a:pt x="539" y="810"/>
                  </a:lnTo>
                  <a:lnTo>
                    <a:pt x="526" y="805"/>
                  </a:lnTo>
                  <a:lnTo>
                    <a:pt x="511" y="801"/>
                  </a:lnTo>
                  <a:lnTo>
                    <a:pt x="498" y="795"/>
                  </a:lnTo>
                  <a:lnTo>
                    <a:pt x="486" y="790"/>
                  </a:lnTo>
                  <a:lnTo>
                    <a:pt x="473" y="783"/>
                  </a:lnTo>
                  <a:lnTo>
                    <a:pt x="461" y="776"/>
                  </a:lnTo>
                  <a:lnTo>
                    <a:pt x="449" y="769"/>
                  </a:lnTo>
                  <a:lnTo>
                    <a:pt x="438" y="761"/>
                  </a:lnTo>
                  <a:lnTo>
                    <a:pt x="428" y="753"/>
                  </a:lnTo>
                  <a:lnTo>
                    <a:pt x="417" y="743"/>
                  </a:lnTo>
                  <a:lnTo>
                    <a:pt x="408" y="734"/>
                  </a:lnTo>
                  <a:lnTo>
                    <a:pt x="398" y="724"/>
                  </a:lnTo>
                  <a:lnTo>
                    <a:pt x="390" y="713"/>
                  </a:lnTo>
                  <a:lnTo>
                    <a:pt x="381" y="703"/>
                  </a:lnTo>
                  <a:lnTo>
                    <a:pt x="375" y="691"/>
                  </a:lnTo>
                  <a:lnTo>
                    <a:pt x="367" y="680"/>
                  </a:lnTo>
                  <a:lnTo>
                    <a:pt x="361" y="667"/>
                  </a:lnTo>
                  <a:lnTo>
                    <a:pt x="355" y="654"/>
                  </a:lnTo>
                  <a:lnTo>
                    <a:pt x="350" y="641"/>
                  </a:lnTo>
                  <a:lnTo>
                    <a:pt x="346" y="627"/>
                  </a:lnTo>
                  <a:lnTo>
                    <a:pt x="341" y="614"/>
                  </a:lnTo>
                  <a:lnTo>
                    <a:pt x="338" y="600"/>
                  </a:lnTo>
                  <a:lnTo>
                    <a:pt x="336" y="584"/>
                  </a:lnTo>
                  <a:lnTo>
                    <a:pt x="335" y="570"/>
                  </a:lnTo>
                  <a:lnTo>
                    <a:pt x="333" y="554"/>
                  </a:lnTo>
                  <a:lnTo>
                    <a:pt x="332" y="539"/>
                  </a:lnTo>
                  <a:lnTo>
                    <a:pt x="333" y="523"/>
                  </a:lnTo>
                  <a:lnTo>
                    <a:pt x="335" y="508"/>
                  </a:lnTo>
                  <a:lnTo>
                    <a:pt x="336" y="492"/>
                  </a:lnTo>
                  <a:lnTo>
                    <a:pt x="338" y="478"/>
                  </a:lnTo>
                  <a:lnTo>
                    <a:pt x="341" y="463"/>
                  </a:lnTo>
                  <a:lnTo>
                    <a:pt x="346" y="449"/>
                  </a:lnTo>
                  <a:lnTo>
                    <a:pt x="350" y="435"/>
                  </a:lnTo>
                  <a:lnTo>
                    <a:pt x="355" y="422"/>
                  </a:lnTo>
                  <a:lnTo>
                    <a:pt x="361" y="410"/>
                  </a:lnTo>
                  <a:lnTo>
                    <a:pt x="367" y="398"/>
                  </a:lnTo>
                  <a:lnTo>
                    <a:pt x="375" y="385"/>
                  </a:lnTo>
                  <a:lnTo>
                    <a:pt x="381" y="374"/>
                  </a:lnTo>
                  <a:lnTo>
                    <a:pt x="390" y="363"/>
                  </a:lnTo>
                  <a:lnTo>
                    <a:pt x="398" y="353"/>
                  </a:lnTo>
                  <a:lnTo>
                    <a:pt x="408" y="343"/>
                  </a:lnTo>
                  <a:lnTo>
                    <a:pt x="417" y="333"/>
                  </a:lnTo>
                  <a:lnTo>
                    <a:pt x="428" y="324"/>
                  </a:lnTo>
                  <a:lnTo>
                    <a:pt x="438" y="315"/>
                  </a:lnTo>
                  <a:lnTo>
                    <a:pt x="449" y="308"/>
                  </a:lnTo>
                  <a:lnTo>
                    <a:pt x="461" y="300"/>
                  </a:lnTo>
                  <a:lnTo>
                    <a:pt x="473" y="293"/>
                  </a:lnTo>
                  <a:lnTo>
                    <a:pt x="486" y="288"/>
                  </a:lnTo>
                  <a:lnTo>
                    <a:pt x="498" y="281"/>
                  </a:lnTo>
                  <a:lnTo>
                    <a:pt x="511" y="276"/>
                  </a:lnTo>
                  <a:lnTo>
                    <a:pt x="526" y="271"/>
                  </a:lnTo>
                  <a:lnTo>
                    <a:pt x="539" y="268"/>
                  </a:lnTo>
                  <a:lnTo>
                    <a:pt x="553" y="264"/>
                  </a:lnTo>
                  <a:lnTo>
                    <a:pt x="568" y="261"/>
                  </a:lnTo>
                  <a:lnTo>
                    <a:pt x="583" y="259"/>
                  </a:lnTo>
                  <a:lnTo>
                    <a:pt x="599" y="258"/>
                  </a:lnTo>
                  <a:lnTo>
                    <a:pt x="614" y="256"/>
                  </a:lnTo>
                  <a:lnTo>
                    <a:pt x="630" y="255"/>
                  </a:lnTo>
                  <a:lnTo>
                    <a:pt x="647" y="256"/>
                  </a:lnTo>
                  <a:lnTo>
                    <a:pt x="662" y="258"/>
                  </a:lnTo>
                  <a:lnTo>
                    <a:pt x="678" y="259"/>
                  </a:lnTo>
                  <a:lnTo>
                    <a:pt x="692" y="261"/>
                  </a:lnTo>
                  <a:lnTo>
                    <a:pt x="708" y="264"/>
                  </a:lnTo>
                  <a:lnTo>
                    <a:pt x="722" y="268"/>
                  </a:lnTo>
                  <a:lnTo>
                    <a:pt x="736" y="271"/>
                  </a:lnTo>
                  <a:lnTo>
                    <a:pt x="750" y="276"/>
                  </a:lnTo>
                  <a:lnTo>
                    <a:pt x="763" y="281"/>
                  </a:lnTo>
                  <a:lnTo>
                    <a:pt x="776" y="288"/>
                  </a:lnTo>
                  <a:lnTo>
                    <a:pt x="789" y="293"/>
                  </a:lnTo>
                  <a:lnTo>
                    <a:pt x="800" y="300"/>
                  </a:lnTo>
                  <a:lnTo>
                    <a:pt x="812" y="308"/>
                  </a:lnTo>
                  <a:lnTo>
                    <a:pt x="823" y="315"/>
                  </a:lnTo>
                  <a:lnTo>
                    <a:pt x="834" y="324"/>
                  </a:lnTo>
                  <a:lnTo>
                    <a:pt x="844" y="333"/>
                  </a:lnTo>
                  <a:lnTo>
                    <a:pt x="854" y="343"/>
                  </a:lnTo>
                  <a:lnTo>
                    <a:pt x="863" y="353"/>
                  </a:lnTo>
                  <a:lnTo>
                    <a:pt x="872" y="363"/>
                  </a:lnTo>
                  <a:lnTo>
                    <a:pt x="880" y="374"/>
                  </a:lnTo>
                  <a:lnTo>
                    <a:pt x="888" y="385"/>
                  </a:lnTo>
                  <a:lnTo>
                    <a:pt x="894" y="398"/>
                  </a:lnTo>
                  <a:lnTo>
                    <a:pt x="901" y="410"/>
                  </a:lnTo>
                  <a:lnTo>
                    <a:pt x="907" y="422"/>
                  </a:lnTo>
                  <a:lnTo>
                    <a:pt x="912" y="435"/>
                  </a:lnTo>
                  <a:lnTo>
                    <a:pt x="917" y="449"/>
                  </a:lnTo>
                  <a:lnTo>
                    <a:pt x="920" y="463"/>
                  </a:lnTo>
                  <a:lnTo>
                    <a:pt x="923" y="478"/>
                  </a:lnTo>
                  <a:lnTo>
                    <a:pt x="925" y="492"/>
                  </a:lnTo>
                  <a:lnTo>
                    <a:pt x="928" y="508"/>
                  </a:lnTo>
                  <a:lnTo>
                    <a:pt x="929" y="523"/>
                  </a:lnTo>
                  <a:lnTo>
                    <a:pt x="929" y="539"/>
                  </a:lnTo>
                  <a:close/>
                  <a:moveTo>
                    <a:pt x="506" y="539"/>
                  </a:moveTo>
                  <a:lnTo>
                    <a:pt x="507" y="552"/>
                  </a:lnTo>
                  <a:lnTo>
                    <a:pt x="509" y="565"/>
                  </a:lnTo>
                  <a:lnTo>
                    <a:pt x="511" y="577"/>
                  </a:lnTo>
                  <a:lnTo>
                    <a:pt x="513" y="584"/>
                  </a:lnTo>
                  <a:lnTo>
                    <a:pt x="516" y="590"/>
                  </a:lnTo>
                  <a:lnTo>
                    <a:pt x="521" y="601"/>
                  </a:lnTo>
                  <a:lnTo>
                    <a:pt x="527" y="611"/>
                  </a:lnTo>
                  <a:lnTo>
                    <a:pt x="534" y="621"/>
                  </a:lnTo>
                  <a:lnTo>
                    <a:pt x="542" y="629"/>
                  </a:lnTo>
                  <a:lnTo>
                    <a:pt x="547" y="633"/>
                  </a:lnTo>
                  <a:lnTo>
                    <a:pt x="551" y="636"/>
                  </a:lnTo>
                  <a:lnTo>
                    <a:pt x="556" y="640"/>
                  </a:lnTo>
                  <a:lnTo>
                    <a:pt x="561" y="643"/>
                  </a:lnTo>
                  <a:lnTo>
                    <a:pt x="571" y="649"/>
                  </a:lnTo>
                  <a:lnTo>
                    <a:pt x="582" y="654"/>
                  </a:lnTo>
                  <a:lnTo>
                    <a:pt x="593" y="657"/>
                  </a:lnTo>
                  <a:lnTo>
                    <a:pt x="606" y="661"/>
                  </a:lnTo>
                  <a:lnTo>
                    <a:pt x="611" y="661"/>
                  </a:lnTo>
                  <a:lnTo>
                    <a:pt x="618" y="662"/>
                  </a:lnTo>
                  <a:lnTo>
                    <a:pt x="630" y="663"/>
                  </a:lnTo>
                  <a:lnTo>
                    <a:pt x="643" y="662"/>
                  </a:lnTo>
                  <a:lnTo>
                    <a:pt x="656" y="661"/>
                  </a:lnTo>
                  <a:lnTo>
                    <a:pt x="668" y="657"/>
                  </a:lnTo>
                  <a:lnTo>
                    <a:pt x="673" y="656"/>
                  </a:lnTo>
                  <a:lnTo>
                    <a:pt x="679" y="654"/>
                  </a:lnTo>
                  <a:lnTo>
                    <a:pt x="690" y="649"/>
                  </a:lnTo>
                  <a:lnTo>
                    <a:pt x="696" y="646"/>
                  </a:lnTo>
                  <a:lnTo>
                    <a:pt x="700" y="643"/>
                  </a:lnTo>
                  <a:lnTo>
                    <a:pt x="706" y="640"/>
                  </a:lnTo>
                  <a:lnTo>
                    <a:pt x="710" y="636"/>
                  </a:lnTo>
                  <a:lnTo>
                    <a:pt x="719" y="629"/>
                  </a:lnTo>
                  <a:lnTo>
                    <a:pt x="727" y="621"/>
                  </a:lnTo>
                  <a:lnTo>
                    <a:pt x="733" y="611"/>
                  </a:lnTo>
                  <a:lnTo>
                    <a:pt x="740" y="601"/>
                  </a:lnTo>
                  <a:lnTo>
                    <a:pt x="742" y="595"/>
                  </a:lnTo>
                  <a:lnTo>
                    <a:pt x="744" y="590"/>
                  </a:lnTo>
                  <a:lnTo>
                    <a:pt x="749" y="577"/>
                  </a:lnTo>
                  <a:lnTo>
                    <a:pt x="752" y="565"/>
                  </a:lnTo>
                  <a:lnTo>
                    <a:pt x="753" y="552"/>
                  </a:lnTo>
                  <a:lnTo>
                    <a:pt x="754" y="539"/>
                  </a:lnTo>
                  <a:lnTo>
                    <a:pt x="753" y="524"/>
                  </a:lnTo>
                  <a:lnTo>
                    <a:pt x="753" y="517"/>
                  </a:lnTo>
                  <a:lnTo>
                    <a:pt x="752" y="511"/>
                  </a:lnTo>
                  <a:lnTo>
                    <a:pt x="749" y="499"/>
                  </a:lnTo>
                  <a:lnTo>
                    <a:pt x="747" y="493"/>
                  </a:lnTo>
                  <a:lnTo>
                    <a:pt x="744" y="488"/>
                  </a:lnTo>
                  <a:lnTo>
                    <a:pt x="740" y="476"/>
                  </a:lnTo>
                  <a:lnTo>
                    <a:pt x="733" y="465"/>
                  </a:lnTo>
                  <a:lnTo>
                    <a:pt x="727" y="456"/>
                  </a:lnTo>
                  <a:lnTo>
                    <a:pt x="719" y="448"/>
                  </a:lnTo>
                  <a:lnTo>
                    <a:pt x="714" y="444"/>
                  </a:lnTo>
                  <a:lnTo>
                    <a:pt x="710" y="440"/>
                  </a:lnTo>
                  <a:lnTo>
                    <a:pt x="706" y="436"/>
                  </a:lnTo>
                  <a:lnTo>
                    <a:pt x="700" y="433"/>
                  </a:lnTo>
                  <a:lnTo>
                    <a:pt x="690" y="428"/>
                  </a:lnTo>
                  <a:lnTo>
                    <a:pt x="679" y="423"/>
                  </a:lnTo>
                  <a:lnTo>
                    <a:pt x="668" y="420"/>
                  </a:lnTo>
                  <a:lnTo>
                    <a:pt x="656" y="416"/>
                  </a:lnTo>
                  <a:lnTo>
                    <a:pt x="643" y="415"/>
                  </a:lnTo>
                  <a:lnTo>
                    <a:pt x="630" y="414"/>
                  </a:lnTo>
                  <a:lnTo>
                    <a:pt x="618" y="415"/>
                  </a:lnTo>
                  <a:lnTo>
                    <a:pt x="606" y="416"/>
                  </a:lnTo>
                  <a:lnTo>
                    <a:pt x="593" y="420"/>
                  </a:lnTo>
                  <a:lnTo>
                    <a:pt x="588" y="421"/>
                  </a:lnTo>
                  <a:lnTo>
                    <a:pt x="582" y="423"/>
                  </a:lnTo>
                  <a:lnTo>
                    <a:pt x="571" y="428"/>
                  </a:lnTo>
                  <a:lnTo>
                    <a:pt x="566" y="431"/>
                  </a:lnTo>
                  <a:lnTo>
                    <a:pt x="561" y="433"/>
                  </a:lnTo>
                  <a:lnTo>
                    <a:pt x="556" y="436"/>
                  </a:lnTo>
                  <a:lnTo>
                    <a:pt x="551" y="440"/>
                  </a:lnTo>
                  <a:lnTo>
                    <a:pt x="542" y="448"/>
                  </a:lnTo>
                  <a:lnTo>
                    <a:pt x="534" y="456"/>
                  </a:lnTo>
                  <a:lnTo>
                    <a:pt x="527" y="465"/>
                  </a:lnTo>
                  <a:lnTo>
                    <a:pt x="521" y="476"/>
                  </a:lnTo>
                  <a:lnTo>
                    <a:pt x="516" y="488"/>
                  </a:lnTo>
                  <a:lnTo>
                    <a:pt x="511" y="499"/>
                  </a:lnTo>
                  <a:lnTo>
                    <a:pt x="509" y="511"/>
                  </a:lnTo>
                  <a:lnTo>
                    <a:pt x="507" y="524"/>
                  </a:lnTo>
                  <a:lnTo>
                    <a:pt x="507" y="531"/>
                  </a:lnTo>
                  <a:lnTo>
                    <a:pt x="506" y="539"/>
                  </a:lnTo>
                  <a:close/>
                  <a:moveTo>
                    <a:pt x="1145" y="175"/>
                  </a:moveTo>
                  <a:lnTo>
                    <a:pt x="959" y="175"/>
                  </a:lnTo>
                  <a:lnTo>
                    <a:pt x="959" y="1"/>
                  </a:lnTo>
                  <a:lnTo>
                    <a:pt x="1145" y="1"/>
                  </a:lnTo>
                  <a:lnTo>
                    <a:pt x="1145" y="175"/>
                  </a:lnTo>
                  <a:close/>
                  <a:moveTo>
                    <a:pt x="965" y="273"/>
                  </a:moveTo>
                  <a:lnTo>
                    <a:pt x="1139" y="273"/>
                  </a:lnTo>
                  <a:lnTo>
                    <a:pt x="1139" y="804"/>
                  </a:lnTo>
                  <a:lnTo>
                    <a:pt x="965" y="804"/>
                  </a:lnTo>
                  <a:lnTo>
                    <a:pt x="965" y="273"/>
                  </a:lnTo>
                  <a:close/>
                  <a:moveTo>
                    <a:pt x="1750" y="475"/>
                  </a:moveTo>
                  <a:lnTo>
                    <a:pt x="1750" y="804"/>
                  </a:lnTo>
                  <a:lnTo>
                    <a:pt x="1578" y="804"/>
                  </a:lnTo>
                  <a:lnTo>
                    <a:pt x="1578" y="523"/>
                  </a:lnTo>
                  <a:lnTo>
                    <a:pt x="1576" y="509"/>
                  </a:lnTo>
                  <a:lnTo>
                    <a:pt x="1575" y="495"/>
                  </a:lnTo>
                  <a:lnTo>
                    <a:pt x="1573" y="483"/>
                  </a:lnTo>
                  <a:lnTo>
                    <a:pt x="1571" y="472"/>
                  </a:lnTo>
                  <a:lnTo>
                    <a:pt x="1568" y="462"/>
                  </a:lnTo>
                  <a:lnTo>
                    <a:pt x="1563" y="452"/>
                  </a:lnTo>
                  <a:lnTo>
                    <a:pt x="1559" y="444"/>
                  </a:lnTo>
                  <a:lnTo>
                    <a:pt x="1555" y="440"/>
                  </a:lnTo>
                  <a:lnTo>
                    <a:pt x="1552" y="436"/>
                  </a:lnTo>
                  <a:lnTo>
                    <a:pt x="1546" y="430"/>
                  </a:lnTo>
                  <a:lnTo>
                    <a:pt x="1539" y="424"/>
                  </a:lnTo>
                  <a:lnTo>
                    <a:pt x="1531" y="420"/>
                  </a:lnTo>
                  <a:lnTo>
                    <a:pt x="1522" y="415"/>
                  </a:lnTo>
                  <a:lnTo>
                    <a:pt x="1512" y="412"/>
                  </a:lnTo>
                  <a:lnTo>
                    <a:pt x="1502" y="410"/>
                  </a:lnTo>
                  <a:lnTo>
                    <a:pt x="1491" y="409"/>
                  </a:lnTo>
                  <a:lnTo>
                    <a:pt x="1480" y="409"/>
                  </a:lnTo>
                  <a:lnTo>
                    <a:pt x="1469" y="409"/>
                  </a:lnTo>
                  <a:lnTo>
                    <a:pt x="1463" y="410"/>
                  </a:lnTo>
                  <a:lnTo>
                    <a:pt x="1459" y="410"/>
                  </a:lnTo>
                  <a:lnTo>
                    <a:pt x="1449" y="412"/>
                  </a:lnTo>
                  <a:lnTo>
                    <a:pt x="1439" y="415"/>
                  </a:lnTo>
                  <a:lnTo>
                    <a:pt x="1430" y="420"/>
                  </a:lnTo>
                  <a:lnTo>
                    <a:pt x="1425" y="422"/>
                  </a:lnTo>
                  <a:lnTo>
                    <a:pt x="1421" y="424"/>
                  </a:lnTo>
                  <a:lnTo>
                    <a:pt x="1413" y="431"/>
                  </a:lnTo>
                  <a:lnTo>
                    <a:pt x="1410" y="434"/>
                  </a:lnTo>
                  <a:lnTo>
                    <a:pt x="1406" y="438"/>
                  </a:lnTo>
                  <a:lnTo>
                    <a:pt x="1403" y="442"/>
                  </a:lnTo>
                  <a:lnTo>
                    <a:pt x="1400" y="445"/>
                  </a:lnTo>
                  <a:lnTo>
                    <a:pt x="1394" y="455"/>
                  </a:lnTo>
                  <a:lnTo>
                    <a:pt x="1389" y="465"/>
                  </a:lnTo>
                  <a:lnTo>
                    <a:pt x="1386" y="471"/>
                  </a:lnTo>
                  <a:lnTo>
                    <a:pt x="1385" y="478"/>
                  </a:lnTo>
                  <a:lnTo>
                    <a:pt x="1383" y="484"/>
                  </a:lnTo>
                  <a:lnTo>
                    <a:pt x="1382" y="491"/>
                  </a:lnTo>
                  <a:lnTo>
                    <a:pt x="1379" y="504"/>
                  </a:lnTo>
                  <a:lnTo>
                    <a:pt x="1378" y="520"/>
                  </a:lnTo>
                  <a:lnTo>
                    <a:pt x="1378" y="537"/>
                  </a:lnTo>
                  <a:lnTo>
                    <a:pt x="1378" y="804"/>
                  </a:lnTo>
                  <a:lnTo>
                    <a:pt x="1203" y="804"/>
                  </a:lnTo>
                  <a:lnTo>
                    <a:pt x="1203" y="273"/>
                  </a:lnTo>
                  <a:lnTo>
                    <a:pt x="1374" y="273"/>
                  </a:lnTo>
                  <a:lnTo>
                    <a:pt x="1374" y="353"/>
                  </a:lnTo>
                  <a:lnTo>
                    <a:pt x="1376" y="353"/>
                  </a:lnTo>
                  <a:lnTo>
                    <a:pt x="1383" y="342"/>
                  </a:lnTo>
                  <a:lnTo>
                    <a:pt x="1391" y="331"/>
                  </a:lnTo>
                  <a:lnTo>
                    <a:pt x="1400" y="321"/>
                  </a:lnTo>
                  <a:lnTo>
                    <a:pt x="1409" y="312"/>
                  </a:lnTo>
                  <a:lnTo>
                    <a:pt x="1418" y="303"/>
                  </a:lnTo>
                  <a:lnTo>
                    <a:pt x="1422" y="299"/>
                  </a:lnTo>
                  <a:lnTo>
                    <a:pt x="1428" y="295"/>
                  </a:lnTo>
                  <a:lnTo>
                    <a:pt x="1438" y="288"/>
                  </a:lnTo>
                  <a:lnTo>
                    <a:pt x="1449" y="281"/>
                  </a:lnTo>
                  <a:lnTo>
                    <a:pt x="1460" y="275"/>
                  </a:lnTo>
                  <a:lnTo>
                    <a:pt x="1472" y="270"/>
                  </a:lnTo>
                  <a:lnTo>
                    <a:pt x="1483" y="265"/>
                  </a:lnTo>
                  <a:lnTo>
                    <a:pt x="1496" y="262"/>
                  </a:lnTo>
                  <a:lnTo>
                    <a:pt x="1509" y="260"/>
                  </a:lnTo>
                  <a:lnTo>
                    <a:pt x="1522" y="258"/>
                  </a:lnTo>
                  <a:lnTo>
                    <a:pt x="1535" y="256"/>
                  </a:lnTo>
                  <a:lnTo>
                    <a:pt x="1550" y="255"/>
                  </a:lnTo>
                  <a:lnTo>
                    <a:pt x="1571" y="256"/>
                  </a:lnTo>
                  <a:lnTo>
                    <a:pt x="1582" y="258"/>
                  </a:lnTo>
                  <a:lnTo>
                    <a:pt x="1592" y="259"/>
                  </a:lnTo>
                  <a:lnTo>
                    <a:pt x="1602" y="261"/>
                  </a:lnTo>
                  <a:lnTo>
                    <a:pt x="1612" y="263"/>
                  </a:lnTo>
                  <a:lnTo>
                    <a:pt x="1621" y="265"/>
                  </a:lnTo>
                  <a:lnTo>
                    <a:pt x="1630" y="269"/>
                  </a:lnTo>
                  <a:lnTo>
                    <a:pt x="1640" y="272"/>
                  </a:lnTo>
                  <a:lnTo>
                    <a:pt x="1647" y="276"/>
                  </a:lnTo>
                  <a:lnTo>
                    <a:pt x="1656" y="281"/>
                  </a:lnTo>
                  <a:lnTo>
                    <a:pt x="1664" y="285"/>
                  </a:lnTo>
                  <a:lnTo>
                    <a:pt x="1672" y="291"/>
                  </a:lnTo>
                  <a:lnTo>
                    <a:pt x="1680" y="296"/>
                  </a:lnTo>
                  <a:lnTo>
                    <a:pt x="1686" y="302"/>
                  </a:lnTo>
                  <a:lnTo>
                    <a:pt x="1693" y="309"/>
                  </a:lnTo>
                  <a:lnTo>
                    <a:pt x="1700" y="315"/>
                  </a:lnTo>
                  <a:lnTo>
                    <a:pt x="1706" y="323"/>
                  </a:lnTo>
                  <a:lnTo>
                    <a:pt x="1712" y="331"/>
                  </a:lnTo>
                  <a:lnTo>
                    <a:pt x="1717" y="339"/>
                  </a:lnTo>
                  <a:lnTo>
                    <a:pt x="1722" y="348"/>
                  </a:lnTo>
                  <a:lnTo>
                    <a:pt x="1726" y="358"/>
                  </a:lnTo>
                  <a:lnTo>
                    <a:pt x="1731" y="366"/>
                  </a:lnTo>
                  <a:lnTo>
                    <a:pt x="1735" y="376"/>
                  </a:lnTo>
                  <a:lnTo>
                    <a:pt x="1739" y="388"/>
                  </a:lnTo>
                  <a:lnTo>
                    <a:pt x="1741" y="399"/>
                  </a:lnTo>
                  <a:lnTo>
                    <a:pt x="1744" y="410"/>
                  </a:lnTo>
                  <a:lnTo>
                    <a:pt x="1745" y="422"/>
                  </a:lnTo>
                  <a:lnTo>
                    <a:pt x="1747" y="434"/>
                  </a:lnTo>
                  <a:lnTo>
                    <a:pt x="1749" y="448"/>
                  </a:lnTo>
                  <a:lnTo>
                    <a:pt x="1750" y="461"/>
                  </a:lnTo>
                  <a:lnTo>
                    <a:pt x="1750" y="475"/>
                  </a:lnTo>
                  <a:close/>
                  <a:moveTo>
                    <a:pt x="2235" y="418"/>
                  </a:moveTo>
                  <a:lnTo>
                    <a:pt x="2235" y="577"/>
                  </a:lnTo>
                  <a:lnTo>
                    <a:pt x="2236" y="594"/>
                  </a:lnTo>
                  <a:lnTo>
                    <a:pt x="2238" y="609"/>
                  </a:lnTo>
                  <a:lnTo>
                    <a:pt x="2240" y="614"/>
                  </a:lnTo>
                  <a:lnTo>
                    <a:pt x="2242" y="620"/>
                  </a:lnTo>
                  <a:lnTo>
                    <a:pt x="2244" y="624"/>
                  </a:lnTo>
                  <a:lnTo>
                    <a:pt x="2247" y="629"/>
                  </a:lnTo>
                  <a:lnTo>
                    <a:pt x="2251" y="632"/>
                  </a:lnTo>
                  <a:lnTo>
                    <a:pt x="2255" y="635"/>
                  </a:lnTo>
                  <a:lnTo>
                    <a:pt x="2260" y="637"/>
                  </a:lnTo>
                  <a:lnTo>
                    <a:pt x="2265" y="640"/>
                  </a:lnTo>
                  <a:lnTo>
                    <a:pt x="2271" y="641"/>
                  </a:lnTo>
                  <a:lnTo>
                    <a:pt x="2277" y="642"/>
                  </a:lnTo>
                  <a:lnTo>
                    <a:pt x="2285" y="643"/>
                  </a:lnTo>
                  <a:lnTo>
                    <a:pt x="2293" y="643"/>
                  </a:lnTo>
                  <a:lnTo>
                    <a:pt x="2313" y="643"/>
                  </a:lnTo>
                  <a:lnTo>
                    <a:pt x="2313" y="804"/>
                  </a:lnTo>
                  <a:lnTo>
                    <a:pt x="2240" y="804"/>
                  </a:lnTo>
                  <a:lnTo>
                    <a:pt x="2221" y="803"/>
                  </a:lnTo>
                  <a:lnTo>
                    <a:pt x="2211" y="803"/>
                  </a:lnTo>
                  <a:lnTo>
                    <a:pt x="2202" y="802"/>
                  </a:lnTo>
                  <a:lnTo>
                    <a:pt x="2184" y="799"/>
                  </a:lnTo>
                  <a:lnTo>
                    <a:pt x="2166" y="794"/>
                  </a:lnTo>
                  <a:lnTo>
                    <a:pt x="2158" y="791"/>
                  </a:lnTo>
                  <a:lnTo>
                    <a:pt x="2151" y="787"/>
                  </a:lnTo>
                  <a:lnTo>
                    <a:pt x="2143" y="784"/>
                  </a:lnTo>
                  <a:lnTo>
                    <a:pt x="2136" y="781"/>
                  </a:lnTo>
                  <a:lnTo>
                    <a:pt x="2130" y="776"/>
                  </a:lnTo>
                  <a:lnTo>
                    <a:pt x="2123" y="772"/>
                  </a:lnTo>
                  <a:lnTo>
                    <a:pt x="2116" y="767"/>
                  </a:lnTo>
                  <a:lnTo>
                    <a:pt x="2111" y="762"/>
                  </a:lnTo>
                  <a:lnTo>
                    <a:pt x="2105" y="756"/>
                  </a:lnTo>
                  <a:lnTo>
                    <a:pt x="2100" y="751"/>
                  </a:lnTo>
                  <a:lnTo>
                    <a:pt x="2090" y="737"/>
                  </a:lnTo>
                  <a:lnTo>
                    <a:pt x="2085" y="730"/>
                  </a:lnTo>
                  <a:lnTo>
                    <a:pt x="2082" y="723"/>
                  </a:lnTo>
                  <a:lnTo>
                    <a:pt x="2075" y="706"/>
                  </a:lnTo>
                  <a:lnTo>
                    <a:pt x="2070" y="689"/>
                  </a:lnTo>
                  <a:lnTo>
                    <a:pt x="2067" y="679"/>
                  </a:lnTo>
                  <a:lnTo>
                    <a:pt x="2065" y="669"/>
                  </a:lnTo>
                  <a:lnTo>
                    <a:pt x="2064" y="659"/>
                  </a:lnTo>
                  <a:lnTo>
                    <a:pt x="2063" y="647"/>
                  </a:lnTo>
                  <a:lnTo>
                    <a:pt x="2062" y="636"/>
                  </a:lnTo>
                  <a:lnTo>
                    <a:pt x="2062" y="624"/>
                  </a:lnTo>
                  <a:lnTo>
                    <a:pt x="2062" y="418"/>
                  </a:lnTo>
                  <a:lnTo>
                    <a:pt x="1959" y="418"/>
                  </a:lnTo>
                  <a:lnTo>
                    <a:pt x="1959" y="273"/>
                  </a:lnTo>
                  <a:lnTo>
                    <a:pt x="2062" y="273"/>
                  </a:lnTo>
                  <a:lnTo>
                    <a:pt x="2062" y="60"/>
                  </a:lnTo>
                  <a:lnTo>
                    <a:pt x="2235" y="60"/>
                  </a:lnTo>
                  <a:lnTo>
                    <a:pt x="2235" y="273"/>
                  </a:lnTo>
                  <a:lnTo>
                    <a:pt x="2345" y="273"/>
                  </a:lnTo>
                  <a:lnTo>
                    <a:pt x="2345" y="418"/>
                  </a:lnTo>
                  <a:lnTo>
                    <a:pt x="2235" y="418"/>
                  </a:lnTo>
                  <a:close/>
                  <a:moveTo>
                    <a:pt x="2556" y="343"/>
                  </a:moveTo>
                  <a:lnTo>
                    <a:pt x="2558" y="343"/>
                  </a:lnTo>
                  <a:lnTo>
                    <a:pt x="2565" y="333"/>
                  </a:lnTo>
                  <a:lnTo>
                    <a:pt x="2573" y="323"/>
                  </a:lnTo>
                  <a:lnTo>
                    <a:pt x="2581" y="314"/>
                  </a:lnTo>
                  <a:lnTo>
                    <a:pt x="2585" y="310"/>
                  </a:lnTo>
                  <a:lnTo>
                    <a:pt x="2589" y="305"/>
                  </a:lnTo>
                  <a:lnTo>
                    <a:pt x="2598" y="298"/>
                  </a:lnTo>
                  <a:lnTo>
                    <a:pt x="2608" y="291"/>
                  </a:lnTo>
                  <a:lnTo>
                    <a:pt x="2618" y="284"/>
                  </a:lnTo>
                  <a:lnTo>
                    <a:pt x="2628" y="279"/>
                  </a:lnTo>
                  <a:lnTo>
                    <a:pt x="2639" y="273"/>
                  </a:lnTo>
                  <a:lnTo>
                    <a:pt x="2651" y="269"/>
                  </a:lnTo>
                  <a:lnTo>
                    <a:pt x="2663" y="264"/>
                  </a:lnTo>
                  <a:lnTo>
                    <a:pt x="2675" y="261"/>
                  </a:lnTo>
                  <a:lnTo>
                    <a:pt x="2687" y="259"/>
                  </a:lnTo>
                  <a:lnTo>
                    <a:pt x="2694" y="258"/>
                  </a:lnTo>
                  <a:lnTo>
                    <a:pt x="2701" y="258"/>
                  </a:lnTo>
                  <a:lnTo>
                    <a:pt x="2714" y="256"/>
                  </a:lnTo>
                  <a:lnTo>
                    <a:pt x="2728" y="255"/>
                  </a:lnTo>
                  <a:lnTo>
                    <a:pt x="2749" y="256"/>
                  </a:lnTo>
                  <a:lnTo>
                    <a:pt x="2760" y="258"/>
                  </a:lnTo>
                  <a:lnTo>
                    <a:pt x="2770" y="259"/>
                  </a:lnTo>
                  <a:lnTo>
                    <a:pt x="2780" y="261"/>
                  </a:lnTo>
                  <a:lnTo>
                    <a:pt x="2790" y="263"/>
                  </a:lnTo>
                  <a:lnTo>
                    <a:pt x="2799" y="265"/>
                  </a:lnTo>
                  <a:lnTo>
                    <a:pt x="2809" y="269"/>
                  </a:lnTo>
                  <a:lnTo>
                    <a:pt x="2818" y="272"/>
                  </a:lnTo>
                  <a:lnTo>
                    <a:pt x="2826" y="276"/>
                  </a:lnTo>
                  <a:lnTo>
                    <a:pt x="2835" y="281"/>
                  </a:lnTo>
                  <a:lnTo>
                    <a:pt x="2843" y="285"/>
                  </a:lnTo>
                  <a:lnTo>
                    <a:pt x="2850" y="291"/>
                  </a:lnTo>
                  <a:lnTo>
                    <a:pt x="2858" y="296"/>
                  </a:lnTo>
                  <a:lnTo>
                    <a:pt x="2865" y="302"/>
                  </a:lnTo>
                  <a:lnTo>
                    <a:pt x="2872" y="309"/>
                  </a:lnTo>
                  <a:lnTo>
                    <a:pt x="2878" y="315"/>
                  </a:lnTo>
                  <a:lnTo>
                    <a:pt x="2885" y="323"/>
                  </a:lnTo>
                  <a:lnTo>
                    <a:pt x="2890" y="331"/>
                  </a:lnTo>
                  <a:lnTo>
                    <a:pt x="2896" y="339"/>
                  </a:lnTo>
                  <a:lnTo>
                    <a:pt x="2900" y="348"/>
                  </a:lnTo>
                  <a:lnTo>
                    <a:pt x="2905" y="358"/>
                  </a:lnTo>
                  <a:lnTo>
                    <a:pt x="2909" y="366"/>
                  </a:lnTo>
                  <a:lnTo>
                    <a:pt x="2914" y="376"/>
                  </a:lnTo>
                  <a:lnTo>
                    <a:pt x="2917" y="388"/>
                  </a:lnTo>
                  <a:lnTo>
                    <a:pt x="2919" y="399"/>
                  </a:lnTo>
                  <a:lnTo>
                    <a:pt x="2923" y="410"/>
                  </a:lnTo>
                  <a:lnTo>
                    <a:pt x="2925" y="422"/>
                  </a:lnTo>
                  <a:lnTo>
                    <a:pt x="2926" y="434"/>
                  </a:lnTo>
                  <a:lnTo>
                    <a:pt x="2927" y="448"/>
                  </a:lnTo>
                  <a:lnTo>
                    <a:pt x="2928" y="461"/>
                  </a:lnTo>
                  <a:lnTo>
                    <a:pt x="2928" y="475"/>
                  </a:lnTo>
                  <a:lnTo>
                    <a:pt x="2928" y="804"/>
                  </a:lnTo>
                  <a:lnTo>
                    <a:pt x="2755" y="804"/>
                  </a:lnTo>
                  <a:lnTo>
                    <a:pt x="2755" y="523"/>
                  </a:lnTo>
                  <a:lnTo>
                    <a:pt x="2754" y="509"/>
                  </a:lnTo>
                  <a:lnTo>
                    <a:pt x="2753" y="495"/>
                  </a:lnTo>
                  <a:lnTo>
                    <a:pt x="2752" y="483"/>
                  </a:lnTo>
                  <a:lnTo>
                    <a:pt x="2748" y="472"/>
                  </a:lnTo>
                  <a:lnTo>
                    <a:pt x="2745" y="462"/>
                  </a:lnTo>
                  <a:lnTo>
                    <a:pt x="2741" y="452"/>
                  </a:lnTo>
                  <a:lnTo>
                    <a:pt x="2738" y="448"/>
                  </a:lnTo>
                  <a:lnTo>
                    <a:pt x="2736" y="444"/>
                  </a:lnTo>
                  <a:lnTo>
                    <a:pt x="2733" y="440"/>
                  </a:lnTo>
                  <a:lnTo>
                    <a:pt x="2731" y="436"/>
                  </a:lnTo>
                  <a:lnTo>
                    <a:pt x="2724" y="430"/>
                  </a:lnTo>
                  <a:lnTo>
                    <a:pt x="2716" y="424"/>
                  </a:lnTo>
                  <a:lnTo>
                    <a:pt x="2708" y="420"/>
                  </a:lnTo>
                  <a:lnTo>
                    <a:pt x="2699" y="415"/>
                  </a:lnTo>
                  <a:lnTo>
                    <a:pt x="2691" y="412"/>
                  </a:lnTo>
                  <a:lnTo>
                    <a:pt x="2681" y="410"/>
                  </a:lnTo>
                  <a:lnTo>
                    <a:pt x="2669" y="409"/>
                  </a:lnTo>
                  <a:lnTo>
                    <a:pt x="2658" y="409"/>
                  </a:lnTo>
                  <a:lnTo>
                    <a:pt x="2647" y="409"/>
                  </a:lnTo>
                  <a:lnTo>
                    <a:pt x="2642" y="410"/>
                  </a:lnTo>
                  <a:lnTo>
                    <a:pt x="2637" y="410"/>
                  </a:lnTo>
                  <a:lnTo>
                    <a:pt x="2627" y="412"/>
                  </a:lnTo>
                  <a:lnTo>
                    <a:pt x="2617" y="415"/>
                  </a:lnTo>
                  <a:lnTo>
                    <a:pt x="2608" y="420"/>
                  </a:lnTo>
                  <a:lnTo>
                    <a:pt x="2604" y="422"/>
                  </a:lnTo>
                  <a:lnTo>
                    <a:pt x="2599" y="424"/>
                  </a:lnTo>
                  <a:lnTo>
                    <a:pt x="2592" y="431"/>
                  </a:lnTo>
                  <a:lnTo>
                    <a:pt x="2588" y="434"/>
                  </a:lnTo>
                  <a:lnTo>
                    <a:pt x="2585" y="438"/>
                  </a:lnTo>
                  <a:lnTo>
                    <a:pt x="2582" y="442"/>
                  </a:lnTo>
                  <a:lnTo>
                    <a:pt x="2578" y="445"/>
                  </a:lnTo>
                  <a:lnTo>
                    <a:pt x="2573" y="455"/>
                  </a:lnTo>
                  <a:lnTo>
                    <a:pt x="2567" y="465"/>
                  </a:lnTo>
                  <a:lnTo>
                    <a:pt x="2566" y="471"/>
                  </a:lnTo>
                  <a:lnTo>
                    <a:pt x="2564" y="478"/>
                  </a:lnTo>
                  <a:lnTo>
                    <a:pt x="2562" y="484"/>
                  </a:lnTo>
                  <a:lnTo>
                    <a:pt x="2561" y="491"/>
                  </a:lnTo>
                  <a:lnTo>
                    <a:pt x="2558" y="504"/>
                  </a:lnTo>
                  <a:lnTo>
                    <a:pt x="2556" y="520"/>
                  </a:lnTo>
                  <a:lnTo>
                    <a:pt x="2556" y="537"/>
                  </a:lnTo>
                  <a:lnTo>
                    <a:pt x="2556" y="804"/>
                  </a:lnTo>
                  <a:lnTo>
                    <a:pt x="2383" y="804"/>
                  </a:lnTo>
                  <a:lnTo>
                    <a:pt x="2383" y="0"/>
                  </a:lnTo>
                  <a:lnTo>
                    <a:pt x="2556" y="0"/>
                  </a:lnTo>
                  <a:lnTo>
                    <a:pt x="2556" y="343"/>
                  </a:lnTo>
                  <a:close/>
                  <a:moveTo>
                    <a:pt x="3506" y="541"/>
                  </a:moveTo>
                  <a:lnTo>
                    <a:pt x="3506" y="580"/>
                  </a:lnTo>
                  <a:lnTo>
                    <a:pt x="3125" y="580"/>
                  </a:lnTo>
                  <a:lnTo>
                    <a:pt x="3128" y="592"/>
                  </a:lnTo>
                  <a:lnTo>
                    <a:pt x="3131" y="603"/>
                  </a:lnTo>
                  <a:lnTo>
                    <a:pt x="3136" y="613"/>
                  </a:lnTo>
                  <a:lnTo>
                    <a:pt x="3141" y="623"/>
                  </a:lnTo>
                  <a:lnTo>
                    <a:pt x="3147" y="632"/>
                  </a:lnTo>
                  <a:lnTo>
                    <a:pt x="3155" y="640"/>
                  </a:lnTo>
                  <a:lnTo>
                    <a:pt x="3163" y="646"/>
                  </a:lnTo>
                  <a:lnTo>
                    <a:pt x="3170" y="653"/>
                  </a:lnTo>
                  <a:lnTo>
                    <a:pt x="3180" y="659"/>
                  </a:lnTo>
                  <a:lnTo>
                    <a:pt x="3189" y="663"/>
                  </a:lnTo>
                  <a:lnTo>
                    <a:pt x="3200" y="667"/>
                  </a:lnTo>
                  <a:lnTo>
                    <a:pt x="3211" y="671"/>
                  </a:lnTo>
                  <a:lnTo>
                    <a:pt x="3223" y="673"/>
                  </a:lnTo>
                  <a:lnTo>
                    <a:pt x="3229" y="674"/>
                  </a:lnTo>
                  <a:lnTo>
                    <a:pt x="3235" y="675"/>
                  </a:lnTo>
                  <a:lnTo>
                    <a:pt x="3248" y="676"/>
                  </a:lnTo>
                  <a:lnTo>
                    <a:pt x="3260" y="676"/>
                  </a:lnTo>
                  <a:lnTo>
                    <a:pt x="3273" y="676"/>
                  </a:lnTo>
                  <a:lnTo>
                    <a:pt x="3285" y="675"/>
                  </a:lnTo>
                  <a:lnTo>
                    <a:pt x="3296" y="674"/>
                  </a:lnTo>
                  <a:lnTo>
                    <a:pt x="3307" y="672"/>
                  </a:lnTo>
                  <a:lnTo>
                    <a:pt x="3318" y="670"/>
                  </a:lnTo>
                  <a:lnTo>
                    <a:pt x="3329" y="666"/>
                  </a:lnTo>
                  <a:lnTo>
                    <a:pt x="3349" y="661"/>
                  </a:lnTo>
                  <a:lnTo>
                    <a:pt x="3359" y="656"/>
                  </a:lnTo>
                  <a:lnTo>
                    <a:pt x="3368" y="653"/>
                  </a:lnTo>
                  <a:lnTo>
                    <a:pt x="3377" y="649"/>
                  </a:lnTo>
                  <a:lnTo>
                    <a:pt x="3386" y="645"/>
                  </a:lnTo>
                  <a:lnTo>
                    <a:pt x="3401" y="636"/>
                  </a:lnTo>
                  <a:lnTo>
                    <a:pt x="3415" y="627"/>
                  </a:lnTo>
                  <a:lnTo>
                    <a:pt x="3478" y="759"/>
                  </a:lnTo>
                  <a:lnTo>
                    <a:pt x="3467" y="765"/>
                  </a:lnTo>
                  <a:lnTo>
                    <a:pt x="3456" y="772"/>
                  </a:lnTo>
                  <a:lnTo>
                    <a:pt x="3445" y="777"/>
                  </a:lnTo>
                  <a:lnTo>
                    <a:pt x="3433" y="783"/>
                  </a:lnTo>
                  <a:lnTo>
                    <a:pt x="3408" y="794"/>
                  </a:lnTo>
                  <a:lnTo>
                    <a:pt x="3395" y="799"/>
                  </a:lnTo>
                  <a:lnTo>
                    <a:pt x="3381" y="803"/>
                  </a:lnTo>
                  <a:lnTo>
                    <a:pt x="3367" y="807"/>
                  </a:lnTo>
                  <a:lnTo>
                    <a:pt x="3353" y="811"/>
                  </a:lnTo>
                  <a:lnTo>
                    <a:pt x="3338" y="814"/>
                  </a:lnTo>
                  <a:lnTo>
                    <a:pt x="3324" y="816"/>
                  </a:lnTo>
                  <a:lnTo>
                    <a:pt x="3308" y="819"/>
                  </a:lnTo>
                  <a:lnTo>
                    <a:pt x="3291" y="820"/>
                  </a:lnTo>
                  <a:lnTo>
                    <a:pt x="3276" y="821"/>
                  </a:lnTo>
                  <a:lnTo>
                    <a:pt x="3258" y="821"/>
                  </a:lnTo>
                  <a:lnTo>
                    <a:pt x="3243" y="821"/>
                  </a:lnTo>
                  <a:lnTo>
                    <a:pt x="3226" y="820"/>
                  </a:lnTo>
                  <a:lnTo>
                    <a:pt x="3210" y="819"/>
                  </a:lnTo>
                  <a:lnTo>
                    <a:pt x="3195" y="816"/>
                  </a:lnTo>
                  <a:lnTo>
                    <a:pt x="3179" y="813"/>
                  </a:lnTo>
                  <a:lnTo>
                    <a:pt x="3165" y="810"/>
                  </a:lnTo>
                  <a:lnTo>
                    <a:pt x="3150" y="805"/>
                  </a:lnTo>
                  <a:lnTo>
                    <a:pt x="3137" y="801"/>
                  </a:lnTo>
                  <a:lnTo>
                    <a:pt x="3124" y="796"/>
                  </a:lnTo>
                  <a:lnTo>
                    <a:pt x="3110" y="790"/>
                  </a:lnTo>
                  <a:lnTo>
                    <a:pt x="3098" y="784"/>
                  </a:lnTo>
                  <a:lnTo>
                    <a:pt x="3087" y="777"/>
                  </a:lnTo>
                  <a:lnTo>
                    <a:pt x="3080" y="773"/>
                  </a:lnTo>
                  <a:lnTo>
                    <a:pt x="3075" y="770"/>
                  </a:lnTo>
                  <a:lnTo>
                    <a:pt x="3064" y="762"/>
                  </a:lnTo>
                  <a:lnTo>
                    <a:pt x="3054" y="753"/>
                  </a:lnTo>
                  <a:lnTo>
                    <a:pt x="3044" y="744"/>
                  </a:lnTo>
                  <a:lnTo>
                    <a:pt x="3034" y="735"/>
                  </a:lnTo>
                  <a:lnTo>
                    <a:pt x="3025" y="725"/>
                  </a:lnTo>
                  <a:lnTo>
                    <a:pt x="3017" y="714"/>
                  </a:lnTo>
                  <a:lnTo>
                    <a:pt x="3009" y="704"/>
                  </a:lnTo>
                  <a:lnTo>
                    <a:pt x="3002" y="692"/>
                  </a:lnTo>
                  <a:lnTo>
                    <a:pt x="2995" y="681"/>
                  </a:lnTo>
                  <a:lnTo>
                    <a:pt x="2989" y="669"/>
                  </a:lnTo>
                  <a:lnTo>
                    <a:pt x="2984" y="655"/>
                  </a:lnTo>
                  <a:lnTo>
                    <a:pt x="2978" y="643"/>
                  </a:lnTo>
                  <a:lnTo>
                    <a:pt x="2974" y="630"/>
                  </a:lnTo>
                  <a:lnTo>
                    <a:pt x="2970" y="615"/>
                  </a:lnTo>
                  <a:lnTo>
                    <a:pt x="2967" y="601"/>
                  </a:lnTo>
                  <a:lnTo>
                    <a:pt x="2965" y="586"/>
                  </a:lnTo>
                  <a:lnTo>
                    <a:pt x="2964" y="572"/>
                  </a:lnTo>
                  <a:lnTo>
                    <a:pt x="2963" y="556"/>
                  </a:lnTo>
                  <a:lnTo>
                    <a:pt x="2963" y="541"/>
                  </a:lnTo>
                  <a:lnTo>
                    <a:pt x="2963" y="524"/>
                  </a:lnTo>
                  <a:lnTo>
                    <a:pt x="2964" y="508"/>
                  </a:lnTo>
                  <a:lnTo>
                    <a:pt x="2965" y="492"/>
                  </a:lnTo>
                  <a:lnTo>
                    <a:pt x="2967" y="478"/>
                  </a:lnTo>
                  <a:lnTo>
                    <a:pt x="2970" y="462"/>
                  </a:lnTo>
                  <a:lnTo>
                    <a:pt x="2974" y="448"/>
                  </a:lnTo>
                  <a:lnTo>
                    <a:pt x="2978" y="434"/>
                  </a:lnTo>
                  <a:lnTo>
                    <a:pt x="2983" y="421"/>
                  </a:lnTo>
                  <a:lnTo>
                    <a:pt x="2988" y="408"/>
                  </a:lnTo>
                  <a:lnTo>
                    <a:pt x="2994" y="395"/>
                  </a:lnTo>
                  <a:lnTo>
                    <a:pt x="3000" y="383"/>
                  </a:lnTo>
                  <a:lnTo>
                    <a:pt x="3008" y="372"/>
                  </a:lnTo>
                  <a:lnTo>
                    <a:pt x="3015" y="361"/>
                  </a:lnTo>
                  <a:lnTo>
                    <a:pt x="3024" y="351"/>
                  </a:lnTo>
                  <a:lnTo>
                    <a:pt x="3032" y="341"/>
                  </a:lnTo>
                  <a:lnTo>
                    <a:pt x="3042" y="332"/>
                  </a:lnTo>
                  <a:lnTo>
                    <a:pt x="3050" y="323"/>
                  </a:lnTo>
                  <a:lnTo>
                    <a:pt x="3060" y="314"/>
                  </a:lnTo>
                  <a:lnTo>
                    <a:pt x="3072" y="306"/>
                  </a:lnTo>
                  <a:lnTo>
                    <a:pt x="3083" y="300"/>
                  </a:lnTo>
                  <a:lnTo>
                    <a:pt x="3094" y="293"/>
                  </a:lnTo>
                  <a:lnTo>
                    <a:pt x="3105" y="286"/>
                  </a:lnTo>
                  <a:lnTo>
                    <a:pt x="3117" y="281"/>
                  </a:lnTo>
                  <a:lnTo>
                    <a:pt x="3130" y="276"/>
                  </a:lnTo>
                  <a:lnTo>
                    <a:pt x="3143" y="272"/>
                  </a:lnTo>
                  <a:lnTo>
                    <a:pt x="3156" y="268"/>
                  </a:lnTo>
                  <a:lnTo>
                    <a:pt x="3169" y="264"/>
                  </a:lnTo>
                  <a:lnTo>
                    <a:pt x="3184" y="262"/>
                  </a:lnTo>
                  <a:lnTo>
                    <a:pt x="3198" y="260"/>
                  </a:lnTo>
                  <a:lnTo>
                    <a:pt x="3213" y="258"/>
                  </a:lnTo>
                  <a:lnTo>
                    <a:pt x="3227" y="258"/>
                  </a:lnTo>
                  <a:lnTo>
                    <a:pt x="3243" y="256"/>
                  </a:lnTo>
                  <a:lnTo>
                    <a:pt x="3257" y="258"/>
                  </a:lnTo>
                  <a:lnTo>
                    <a:pt x="3271" y="258"/>
                  </a:lnTo>
                  <a:lnTo>
                    <a:pt x="3286" y="260"/>
                  </a:lnTo>
                  <a:lnTo>
                    <a:pt x="3299" y="261"/>
                  </a:lnTo>
                  <a:lnTo>
                    <a:pt x="3313" y="263"/>
                  </a:lnTo>
                  <a:lnTo>
                    <a:pt x="3326" y="266"/>
                  </a:lnTo>
                  <a:lnTo>
                    <a:pt x="3339" y="270"/>
                  </a:lnTo>
                  <a:lnTo>
                    <a:pt x="3345" y="272"/>
                  </a:lnTo>
                  <a:lnTo>
                    <a:pt x="3351" y="274"/>
                  </a:lnTo>
                  <a:lnTo>
                    <a:pt x="3363" y="279"/>
                  </a:lnTo>
                  <a:lnTo>
                    <a:pt x="3375" y="284"/>
                  </a:lnTo>
                  <a:lnTo>
                    <a:pt x="3386" y="290"/>
                  </a:lnTo>
                  <a:lnTo>
                    <a:pt x="3396" y="296"/>
                  </a:lnTo>
                  <a:lnTo>
                    <a:pt x="3406" y="303"/>
                  </a:lnTo>
                  <a:lnTo>
                    <a:pt x="3411" y="306"/>
                  </a:lnTo>
                  <a:lnTo>
                    <a:pt x="3416" y="311"/>
                  </a:lnTo>
                  <a:lnTo>
                    <a:pt x="3425" y="319"/>
                  </a:lnTo>
                  <a:lnTo>
                    <a:pt x="3434" y="326"/>
                  </a:lnTo>
                  <a:lnTo>
                    <a:pt x="3443" y="336"/>
                  </a:lnTo>
                  <a:lnTo>
                    <a:pt x="3450" y="345"/>
                  </a:lnTo>
                  <a:lnTo>
                    <a:pt x="3458" y="355"/>
                  </a:lnTo>
                  <a:lnTo>
                    <a:pt x="3465" y="366"/>
                  </a:lnTo>
                  <a:lnTo>
                    <a:pt x="3471" y="378"/>
                  </a:lnTo>
                  <a:lnTo>
                    <a:pt x="3477" y="390"/>
                  </a:lnTo>
                  <a:lnTo>
                    <a:pt x="3483" y="402"/>
                  </a:lnTo>
                  <a:lnTo>
                    <a:pt x="3487" y="415"/>
                  </a:lnTo>
                  <a:lnTo>
                    <a:pt x="3489" y="422"/>
                  </a:lnTo>
                  <a:lnTo>
                    <a:pt x="3491" y="429"/>
                  </a:lnTo>
                  <a:lnTo>
                    <a:pt x="3495" y="443"/>
                  </a:lnTo>
                  <a:lnTo>
                    <a:pt x="3498" y="458"/>
                  </a:lnTo>
                  <a:lnTo>
                    <a:pt x="3501" y="473"/>
                  </a:lnTo>
                  <a:lnTo>
                    <a:pt x="3502" y="490"/>
                  </a:lnTo>
                  <a:lnTo>
                    <a:pt x="3505" y="506"/>
                  </a:lnTo>
                  <a:lnTo>
                    <a:pt x="3506" y="523"/>
                  </a:lnTo>
                  <a:lnTo>
                    <a:pt x="3506" y="541"/>
                  </a:lnTo>
                  <a:close/>
                  <a:moveTo>
                    <a:pt x="3126" y="478"/>
                  </a:moveTo>
                  <a:lnTo>
                    <a:pt x="3338" y="478"/>
                  </a:lnTo>
                  <a:lnTo>
                    <a:pt x="3337" y="466"/>
                  </a:lnTo>
                  <a:lnTo>
                    <a:pt x="3335" y="455"/>
                  </a:lnTo>
                  <a:lnTo>
                    <a:pt x="3333" y="445"/>
                  </a:lnTo>
                  <a:lnTo>
                    <a:pt x="3329" y="436"/>
                  </a:lnTo>
                  <a:lnTo>
                    <a:pt x="3325" y="428"/>
                  </a:lnTo>
                  <a:lnTo>
                    <a:pt x="3319" y="420"/>
                  </a:lnTo>
                  <a:lnTo>
                    <a:pt x="3317" y="415"/>
                  </a:lnTo>
                  <a:lnTo>
                    <a:pt x="3314" y="412"/>
                  </a:lnTo>
                  <a:lnTo>
                    <a:pt x="3308" y="405"/>
                  </a:lnTo>
                  <a:lnTo>
                    <a:pt x="3300" y="400"/>
                  </a:lnTo>
                  <a:lnTo>
                    <a:pt x="3293" y="394"/>
                  </a:lnTo>
                  <a:lnTo>
                    <a:pt x="3285" y="390"/>
                  </a:lnTo>
                  <a:lnTo>
                    <a:pt x="3276" y="386"/>
                  </a:lnTo>
                  <a:lnTo>
                    <a:pt x="3267" y="383"/>
                  </a:lnTo>
                  <a:lnTo>
                    <a:pt x="3257" y="382"/>
                  </a:lnTo>
                  <a:lnTo>
                    <a:pt x="3247" y="380"/>
                  </a:lnTo>
                  <a:lnTo>
                    <a:pt x="3237" y="380"/>
                  </a:lnTo>
                  <a:lnTo>
                    <a:pt x="3226" y="380"/>
                  </a:lnTo>
                  <a:lnTo>
                    <a:pt x="3216" y="381"/>
                  </a:lnTo>
                  <a:lnTo>
                    <a:pt x="3206" y="383"/>
                  </a:lnTo>
                  <a:lnTo>
                    <a:pt x="3196" y="385"/>
                  </a:lnTo>
                  <a:lnTo>
                    <a:pt x="3187" y="389"/>
                  </a:lnTo>
                  <a:lnTo>
                    <a:pt x="3178" y="393"/>
                  </a:lnTo>
                  <a:lnTo>
                    <a:pt x="3170" y="398"/>
                  </a:lnTo>
                  <a:lnTo>
                    <a:pt x="3163" y="403"/>
                  </a:lnTo>
                  <a:lnTo>
                    <a:pt x="3156" y="409"/>
                  </a:lnTo>
                  <a:lnTo>
                    <a:pt x="3149" y="416"/>
                  </a:lnTo>
                  <a:lnTo>
                    <a:pt x="3144" y="424"/>
                  </a:lnTo>
                  <a:lnTo>
                    <a:pt x="3139" y="433"/>
                  </a:lnTo>
                  <a:lnTo>
                    <a:pt x="3137" y="438"/>
                  </a:lnTo>
                  <a:lnTo>
                    <a:pt x="3135" y="443"/>
                  </a:lnTo>
                  <a:lnTo>
                    <a:pt x="3131" y="453"/>
                  </a:lnTo>
                  <a:lnTo>
                    <a:pt x="3128" y="465"/>
                  </a:lnTo>
                  <a:lnTo>
                    <a:pt x="3126" y="4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8355037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" preserve="1" userDrawn="1">
  <p:cSld name="Title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8669060" y="6501387"/>
            <a:ext cx="1408596" cy="602019"/>
            <a:chOff x="10200456" y="6170033"/>
            <a:chExt cx="1657426" cy="571336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10200456" y="6170033"/>
              <a:ext cx="1657426" cy="571336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0361613" cy="72263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6"/>
                </a:move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846199" y="6211926"/>
                </a:lnTo>
                <a:lnTo>
                  <a:pt x="10754785" y="6211926"/>
                </a:lnTo>
                <a:lnTo>
                  <a:pt x="10663510" y="6211926"/>
                </a:lnTo>
                <a:lnTo>
                  <a:pt x="10572095" y="6211926"/>
                </a:lnTo>
                <a:lnTo>
                  <a:pt x="10480540" y="6211926"/>
                </a:lnTo>
                <a:lnTo>
                  <a:pt x="10389125" y="62119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marR="0" indent="0" algn="r" defTabSz="777149" rtl="0" eaLnBrk="1" fontAlgn="auto" latinLnBrk="0" hangingPunct="1">
              <a:lnSpc>
                <a:spcPct val="100000"/>
              </a:lnSpc>
              <a:spcBef>
                <a:spcPts val="68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02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029433"/>
            <a:ext cx="7833271" cy="1365600"/>
          </a:xfrm>
        </p:spPr>
        <p:txBody>
          <a:bodyPr anchor="t" anchorCtr="0"/>
          <a:lstStyle>
            <a:lvl1pPr algn="l">
              <a:defRPr sz="425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479400"/>
            <a:ext cx="7833271" cy="379333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211"/>
            <a:ext cx="1104491" cy="993853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7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2252648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ega Picture" preserve="1" userDrawn="1">
  <p:cSld name="Title Slide Nega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/>
          <p:cNvGrpSpPr/>
          <p:nvPr userDrawn="1"/>
        </p:nvGrpSpPr>
        <p:grpSpPr>
          <a:xfrm>
            <a:off x="8669060" y="6501387"/>
            <a:ext cx="1408596" cy="602019"/>
            <a:chOff x="10200456" y="6170033"/>
            <a:chExt cx="1657426" cy="571336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10200456" y="6170033"/>
              <a:ext cx="1657426" cy="571336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  <p:sp>
        <p:nvSpPr>
          <p:cNvPr id="17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0361613" cy="72263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6"/>
                </a:move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846199" y="6211926"/>
                </a:lnTo>
                <a:lnTo>
                  <a:pt x="10754785" y="6211926"/>
                </a:lnTo>
                <a:lnTo>
                  <a:pt x="10663510" y="6211926"/>
                </a:lnTo>
                <a:lnTo>
                  <a:pt x="10572095" y="6211926"/>
                </a:lnTo>
                <a:lnTo>
                  <a:pt x="10480540" y="6211926"/>
                </a:lnTo>
                <a:lnTo>
                  <a:pt x="10389125" y="62119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marR="0" indent="0" algn="r" defTabSz="777149" rtl="0" eaLnBrk="1" fontAlgn="auto" latinLnBrk="0" hangingPunct="1">
              <a:lnSpc>
                <a:spcPct val="100000"/>
              </a:lnSpc>
              <a:spcBef>
                <a:spcPts val="68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02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029433"/>
            <a:ext cx="7833271" cy="1365600"/>
          </a:xfrm>
        </p:spPr>
        <p:txBody>
          <a:bodyPr anchor="t" anchorCtr="0"/>
          <a:lstStyle>
            <a:lvl1pPr algn="l">
              <a:defRPr sz="425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479400"/>
            <a:ext cx="7833271" cy="379333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211"/>
            <a:ext cx="1104491" cy="993853"/>
          </a:xfrm>
          <a:blipFill>
            <a:blip r:embed="rId6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7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38043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4362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with Subheading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2" y="1564030"/>
            <a:ext cx="9425289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2" y="2171524"/>
            <a:ext cx="9425289" cy="42485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5456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s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03201" y="1564026"/>
            <a:ext cx="4590251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180807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581124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otes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6538" y="6838950"/>
            <a:ext cx="6542087" cy="1524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865" indent="-184865" defTabSz="881022" eaLnBrk="0" fontAlgn="t" hangingPunct="0">
              <a:defRPr/>
            </a:pPr>
            <a:endParaRPr lang="it-IT" sz="1000" b="0" noProof="1">
              <a:solidFill>
                <a:schemeClr val="tx1"/>
              </a:solidFill>
              <a:ea typeface="ヒラギノ角ゴ Pro W3" pitchFamily="84" charset="-128"/>
              <a:cs typeface="+mn-cs"/>
            </a:endParaRPr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1727200" y="6786563"/>
            <a:ext cx="67738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1" tIns="45706" rIns="91411" bIns="45706">
            <a:spAutoFit/>
          </a:bodyPr>
          <a:lstStyle/>
          <a:p>
            <a:pPr eaLnBrk="0" hangingPunct="0">
              <a:defRPr/>
            </a:pPr>
            <a:r>
              <a:rPr lang="en-US" sz="800" b="0" dirty="0">
                <a:solidFill>
                  <a:srgbClr val="01AEF0"/>
                </a:solidFill>
                <a:ea typeface="ヒラギノ角ゴ Pro W3" pitchFamily="100" charset="-128"/>
                <a:cs typeface="+mn-cs"/>
              </a:rPr>
              <a:t>This information was prepared by EPCG and it is not to be relied on by any 3rd party without EPCG</a:t>
            </a:r>
            <a:fld id="{10DB707D-14AC-4162-8079-ED977E14BE42}" type="slidenum">
              <a:rPr lang="en-US" sz="800" b="0">
                <a:solidFill>
                  <a:srgbClr val="01AEF0"/>
                </a:solidFill>
                <a:ea typeface="ヒラギノ角ゴ Pro W3" pitchFamily="100" charset="-128"/>
                <a:cs typeface="+mn-cs"/>
              </a:rPr>
              <a:pPr eaLnBrk="0" hangingPunct="0">
                <a:defRPr/>
              </a:pPr>
              <a:t>‹#›</a:t>
            </a:fld>
            <a:r>
              <a:rPr lang="en-US" sz="800" b="0" dirty="0">
                <a:solidFill>
                  <a:srgbClr val="01AEF0"/>
                </a:solidFill>
                <a:ea typeface="ヒラギノ角ゴ Pro W3" pitchFamily="100" charset="-128"/>
                <a:cs typeface="+mn-cs"/>
              </a:rPr>
              <a:t>’s prior written consent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t-IT" dirty="0"/>
          </a:p>
        </p:txBody>
      </p:sp>
      <p:sp>
        <p:nvSpPr>
          <p:cNvPr id="24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0A9EC9-3841-4AB7-90F4-0EAE019E4F26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2" y="1564030"/>
            <a:ext cx="4590251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2" y="2171524"/>
            <a:ext cx="4590251" cy="42485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03201" y="1564030"/>
            <a:ext cx="4590251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303201" y="2171527"/>
            <a:ext cx="4590251" cy="42485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180807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2119535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3" y="1564030"/>
            <a:ext cx="2999117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3" y="2171239"/>
            <a:ext cx="2999117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712028" y="2171484"/>
            <a:ext cx="2937150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6894382" y="1564466"/>
            <a:ext cx="2998757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712028" y="1564466"/>
            <a:ext cx="2937558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6894382" y="2171484"/>
            <a:ext cx="2998341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589673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6771940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338389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2" preserve="1" userDrawn="1">
  <p:cSld name="Title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303203" y="5"/>
            <a:ext cx="5058412" cy="6420032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8165" y="501826"/>
            <a:ext cx="4590250" cy="7591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2487885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mall Picture" preserve="1" userDrawn="1">
  <p:cSld name="Title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303201" y="1564027"/>
            <a:ext cx="4590251" cy="4856006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976214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1" preserve="1" userDrawn="1">
  <p:cSld name="Title and 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8163" y="1564027"/>
            <a:ext cx="9425289" cy="4856006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0845796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6772536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857302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ogan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8163" y="2702654"/>
            <a:ext cx="9425288" cy="1745415"/>
          </a:xfrm>
        </p:spPr>
        <p:txBody>
          <a:bodyPr anchor="ctr" anchorCtr="0"/>
          <a:lstStyle>
            <a:lvl1pPr algn="ctr">
              <a:defRPr sz="42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0546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9776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475024"/>
            <a:ext cx="7833271" cy="2276253"/>
          </a:xfrm>
        </p:spPr>
        <p:txBody>
          <a:bodyPr anchor="t" anchorCtr="0"/>
          <a:lstStyle>
            <a:lvl1pPr algn="l">
              <a:defRPr sz="425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564026"/>
            <a:ext cx="7833271" cy="759744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8648541" y="6096570"/>
            <a:ext cx="1346343" cy="962691"/>
            <a:chOff x="10176312" y="5785848"/>
            <a:chExt cx="1584176" cy="913626"/>
          </a:xfrm>
        </p:grpSpPr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0297850" y="6211927"/>
              <a:ext cx="1462638" cy="487547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0176312" y="5785848"/>
              <a:ext cx="730621" cy="426079"/>
            </a:xfrm>
            <a:custGeom>
              <a:avLst/>
              <a:gdLst>
                <a:gd name="T0" fmla="*/ 0 w 5232"/>
                <a:gd name="T1" fmla="*/ 3051 h 3051"/>
                <a:gd name="T2" fmla="*/ 653 w 5232"/>
                <a:gd name="T3" fmla="*/ 3051 h 3051"/>
                <a:gd name="T4" fmla="*/ 1307 w 5232"/>
                <a:gd name="T5" fmla="*/ 3051 h 3051"/>
                <a:gd name="T6" fmla="*/ 1962 w 5232"/>
                <a:gd name="T7" fmla="*/ 3051 h 3051"/>
                <a:gd name="T8" fmla="*/ 2616 w 5232"/>
                <a:gd name="T9" fmla="*/ 3051 h 3051"/>
                <a:gd name="T10" fmla="*/ 3269 w 5232"/>
                <a:gd name="T11" fmla="*/ 3051 h 3051"/>
                <a:gd name="T12" fmla="*/ 3923 w 5232"/>
                <a:gd name="T13" fmla="*/ 3051 h 3051"/>
                <a:gd name="T14" fmla="*/ 4578 w 5232"/>
                <a:gd name="T15" fmla="*/ 3051 h 3051"/>
                <a:gd name="T16" fmla="*/ 5232 w 5232"/>
                <a:gd name="T17" fmla="*/ 3051 h 3051"/>
                <a:gd name="T18" fmla="*/ 5232 w 5232"/>
                <a:gd name="T19" fmla="*/ 2288 h 3051"/>
                <a:gd name="T20" fmla="*/ 5232 w 5232"/>
                <a:gd name="T21" fmla="*/ 1525 h 3051"/>
                <a:gd name="T22" fmla="*/ 5232 w 5232"/>
                <a:gd name="T23" fmla="*/ 762 h 3051"/>
                <a:gd name="T24" fmla="*/ 5232 w 5232"/>
                <a:gd name="T25" fmla="*/ 0 h 3051"/>
                <a:gd name="T26" fmla="*/ 4578 w 5232"/>
                <a:gd name="T27" fmla="*/ 0 h 3051"/>
                <a:gd name="T28" fmla="*/ 3923 w 5232"/>
                <a:gd name="T29" fmla="*/ 0 h 3051"/>
                <a:gd name="T30" fmla="*/ 3269 w 5232"/>
                <a:gd name="T31" fmla="*/ 0 h 3051"/>
                <a:gd name="T32" fmla="*/ 2616 w 5232"/>
                <a:gd name="T33" fmla="*/ 0 h 3051"/>
                <a:gd name="T34" fmla="*/ 1962 w 5232"/>
                <a:gd name="T35" fmla="*/ 0 h 3051"/>
                <a:gd name="T36" fmla="*/ 1307 w 5232"/>
                <a:gd name="T37" fmla="*/ 0 h 3051"/>
                <a:gd name="T38" fmla="*/ 653 w 5232"/>
                <a:gd name="T39" fmla="*/ 0 h 3051"/>
                <a:gd name="T40" fmla="*/ 0 w 5232"/>
                <a:gd name="T41" fmla="*/ 0 h 3051"/>
                <a:gd name="T42" fmla="*/ 0 w 5232"/>
                <a:gd name="T43" fmla="*/ 762 h 3051"/>
                <a:gd name="T44" fmla="*/ 0 w 5232"/>
                <a:gd name="T45" fmla="*/ 1525 h 3051"/>
                <a:gd name="T46" fmla="*/ 0 w 5232"/>
                <a:gd name="T47" fmla="*/ 2288 h 3051"/>
                <a:gd name="T48" fmla="*/ 0 w 5232"/>
                <a:gd name="T49" fmla="*/ 3051 h 3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32" h="3051">
                  <a:moveTo>
                    <a:pt x="0" y="3051"/>
                  </a:moveTo>
                  <a:lnTo>
                    <a:pt x="653" y="3051"/>
                  </a:lnTo>
                  <a:lnTo>
                    <a:pt x="1307" y="3051"/>
                  </a:lnTo>
                  <a:lnTo>
                    <a:pt x="1962" y="3051"/>
                  </a:lnTo>
                  <a:lnTo>
                    <a:pt x="2616" y="3051"/>
                  </a:lnTo>
                  <a:lnTo>
                    <a:pt x="3269" y="3051"/>
                  </a:lnTo>
                  <a:lnTo>
                    <a:pt x="3923" y="3051"/>
                  </a:lnTo>
                  <a:lnTo>
                    <a:pt x="4578" y="3051"/>
                  </a:lnTo>
                  <a:lnTo>
                    <a:pt x="5232" y="3051"/>
                  </a:lnTo>
                  <a:lnTo>
                    <a:pt x="5232" y="2288"/>
                  </a:lnTo>
                  <a:lnTo>
                    <a:pt x="5232" y="1525"/>
                  </a:lnTo>
                  <a:lnTo>
                    <a:pt x="5232" y="762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762"/>
                  </a:lnTo>
                  <a:lnTo>
                    <a:pt x="0" y="1525"/>
                  </a:lnTo>
                  <a:lnTo>
                    <a:pt x="0" y="2288"/>
                  </a:lnTo>
                  <a:lnTo>
                    <a:pt x="0" y="3051"/>
                  </a:lnTo>
                  <a:close/>
                </a:path>
              </a:pathLst>
            </a:custGeom>
            <a:solidFill>
              <a:srgbClr val="377A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10293658" y="5873858"/>
              <a:ext cx="491737" cy="272412"/>
            </a:xfrm>
            <a:custGeom>
              <a:avLst/>
              <a:gdLst>
                <a:gd name="T0" fmla="*/ 278 w 3517"/>
                <a:gd name="T1" fmla="*/ 1564 h 1954"/>
                <a:gd name="T2" fmla="*/ 190 w 3517"/>
                <a:gd name="T3" fmla="*/ 1377 h 1954"/>
                <a:gd name="T4" fmla="*/ 466 w 3517"/>
                <a:gd name="T5" fmla="*/ 1198 h 1954"/>
                <a:gd name="T6" fmla="*/ 105 w 3517"/>
                <a:gd name="T7" fmla="*/ 1218 h 1954"/>
                <a:gd name="T8" fmla="*/ 22 w 3517"/>
                <a:gd name="T9" fmla="*/ 1558 h 1954"/>
                <a:gd name="T10" fmla="*/ 508 w 3517"/>
                <a:gd name="T11" fmla="*/ 903 h 1954"/>
                <a:gd name="T12" fmla="*/ 824 w 3517"/>
                <a:gd name="T13" fmla="*/ 1318 h 1954"/>
                <a:gd name="T14" fmla="*/ 1034 w 3517"/>
                <a:gd name="T15" fmla="*/ 1269 h 1954"/>
                <a:gd name="T16" fmla="*/ 800 w 3517"/>
                <a:gd name="T17" fmla="*/ 1165 h 1954"/>
                <a:gd name="T18" fmla="*/ 1476 w 3517"/>
                <a:gd name="T19" fmla="*/ 1679 h 1954"/>
                <a:gd name="T20" fmla="*/ 1372 w 3517"/>
                <a:gd name="T21" fmla="*/ 1161 h 1954"/>
                <a:gd name="T22" fmla="*/ 1104 w 3517"/>
                <a:gd name="T23" fmla="*/ 1333 h 1954"/>
                <a:gd name="T24" fmla="*/ 1201 w 3517"/>
                <a:gd name="T25" fmla="*/ 1684 h 1954"/>
                <a:gd name="T26" fmla="*/ 1288 w 3517"/>
                <a:gd name="T27" fmla="*/ 1514 h 1954"/>
                <a:gd name="T28" fmla="*/ 1370 w 3517"/>
                <a:gd name="T29" fmla="*/ 1318 h 1954"/>
                <a:gd name="T30" fmla="*/ 1506 w 3517"/>
                <a:gd name="T31" fmla="*/ 1482 h 1954"/>
                <a:gd name="T32" fmla="*/ 1977 w 3517"/>
                <a:gd name="T33" fmla="*/ 1198 h 1954"/>
                <a:gd name="T34" fmla="*/ 1980 w 3517"/>
                <a:gd name="T35" fmla="*/ 1323 h 1954"/>
                <a:gd name="T36" fmla="*/ 2300 w 3517"/>
                <a:gd name="T37" fmla="*/ 1364 h 1954"/>
                <a:gd name="T38" fmla="*/ 2142 w 3517"/>
                <a:gd name="T39" fmla="*/ 1162 h 1954"/>
                <a:gd name="T40" fmla="*/ 2902 w 3517"/>
                <a:gd name="T41" fmla="*/ 1848 h 1954"/>
                <a:gd name="T42" fmla="*/ 2659 w 3517"/>
                <a:gd name="T43" fmla="*/ 1168 h 1954"/>
                <a:gd name="T44" fmla="*/ 2361 w 3517"/>
                <a:gd name="T45" fmla="*/ 1305 h 1954"/>
                <a:gd name="T46" fmla="*/ 2418 w 3517"/>
                <a:gd name="T47" fmla="*/ 1656 h 1954"/>
                <a:gd name="T48" fmla="*/ 2734 w 3517"/>
                <a:gd name="T49" fmla="*/ 1666 h 1954"/>
                <a:gd name="T50" fmla="*/ 2605 w 3517"/>
                <a:gd name="T51" fmla="*/ 1790 h 1954"/>
                <a:gd name="T52" fmla="*/ 2549 w 3517"/>
                <a:gd name="T53" fmla="*/ 1532 h 1954"/>
                <a:gd name="T54" fmla="*/ 2599 w 3517"/>
                <a:gd name="T55" fmla="*/ 1323 h 1954"/>
                <a:gd name="T56" fmla="*/ 2756 w 3517"/>
                <a:gd name="T57" fmla="*/ 1468 h 1954"/>
                <a:gd name="T58" fmla="*/ 3141 w 3517"/>
                <a:gd name="T59" fmla="*/ 1179 h 1954"/>
                <a:gd name="T60" fmla="*/ 2975 w 3517"/>
                <a:gd name="T61" fmla="*/ 1475 h 1954"/>
                <a:gd name="T62" fmla="*/ 3206 w 3517"/>
                <a:gd name="T63" fmla="*/ 1719 h 1954"/>
                <a:gd name="T64" fmla="*/ 3308 w 3517"/>
                <a:gd name="T65" fmla="*/ 1577 h 1954"/>
                <a:gd name="T66" fmla="*/ 3512 w 3517"/>
                <a:gd name="T67" fmla="*/ 1376 h 1954"/>
                <a:gd name="T68" fmla="*/ 3284 w 3517"/>
                <a:gd name="T69" fmla="*/ 1161 h 1954"/>
                <a:gd name="T70" fmla="*/ 3150 w 3517"/>
                <a:gd name="T71" fmla="*/ 1336 h 1954"/>
                <a:gd name="T72" fmla="*/ 253 w 3517"/>
                <a:gd name="T73" fmla="*/ 744 h 1954"/>
                <a:gd name="T74" fmla="*/ 99 w 3517"/>
                <a:gd name="T75" fmla="*/ 630 h 1954"/>
                <a:gd name="T76" fmla="*/ 854 w 3517"/>
                <a:gd name="T77" fmla="*/ 734 h 1954"/>
                <a:gd name="T78" fmla="*/ 486 w 3517"/>
                <a:gd name="T79" fmla="*/ 790 h 1954"/>
                <a:gd name="T80" fmla="*/ 341 w 3517"/>
                <a:gd name="T81" fmla="*/ 463 h 1954"/>
                <a:gd name="T82" fmla="*/ 630 w 3517"/>
                <a:gd name="T83" fmla="*/ 255 h 1954"/>
                <a:gd name="T84" fmla="*/ 920 w 3517"/>
                <a:gd name="T85" fmla="*/ 463 h 1954"/>
                <a:gd name="T86" fmla="*/ 643 w 3517"/>
                <a:gd name="T87" fmla="*/ 662 h 1954"/>
                <a:gd name="T88" fmla="*/ 733 w 3517"/>
                <a:gd name="T89" fmla="*/ 465 h 1954"/>
                <a:gd name="T90" fmla="*/ 516 w 3517"/>
                <a:gd name="T91" fmla="*/ 488 h 1954"/>
                <a:gd name="T92" fmla="*/ 1555 w 3517"/>
                <a:gd name="T93" fmla="*/ 440 h 1954"/>
                <a:gd name="T94" fmla="*/ 1383 w 3517"/>
                <a:gd name="T95" fmla="*/ 484 h 1954"/>
                <a:gd name="T96" fmla="*/ 1550 w 3517"/>
                <a:gd name="T97" fmla="*/ 255 h 1954"/>
                <a:gd name="T98" fmla="*/ 1745 w 3517"/>
                <a:gd name="T99" fmla="*/ 422 h 1954"/>
                <a:gd name="T100" fmla="*/ 2184 w 3517"/>
                <a:gd name="T101" fmla="*/ 799 h 1954"/>
                <a:gd name="T102" fmla="*/ 2062 w 3517"/>
                <a:gd name="T103" fmla="*/ 60 h 1954"/>
                <a:gd name="T104" fmla="*/ 2760 w 3517"/>
                <a:gd name="T105" fmla="*/ 258 h 1954"/>
                <a:gd name="T106" fmla="*/ 2927 w 3517"/>
                <a:gd name="T107" fmla="*/ 448 h 1954"/>
                <a:gd name="T108" fmla="*/ 2627 w 3517"/>
                <a:gd name="T109" fmla="*/ 412 h 1954"/>
                <a:gd name="T110" fmla="*/ 3128 w 3517"/>
                <a:gd name="T111" fmla="*/ 592 h 1954"/>
                <a:gd name="T112" fmla="*/ 3386 w 3517"/>
                <a:gd name="T113" fmla="*/ 645 h 1954"/>
                <a:gd name="T114" fmla="*/ 3124 w 3517"/>
                <a:gd name="T115" fmla="*/ 796 h 1954"/>
                <a:gd name="T116" fmla="*/ 2965 w 3517"/>
                <a:gd name="T117" fmla="*/ 492 h 1954"/>
                <a:gd name="T118" fmla="*/ 3213 w 3517"/>
                <a:gd name="T119" fmla="*/ 258 h 1954"/>
                <a:gd name="T120" fmla="*/ 3483 w 3517"/>
                <a:gd name="T121" fmla="*/ 402 h 1954"/>
                <a:gd name="T122" fmla="*/ 3257 w 3517"/>
                <a:gd name="T123" fmla="*/ 38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17" h="1954">
                  <a:moveTo>
                    <a:pt x="296" y="1724"/>
                  </a:moveTo>
                  <a:lnTo>
                    <a:pt x="309" y="1724"/>
                  </a:lnTo>
                  <a:lnTo>
                    <a:pt x="322" y="1724"/>
                  </a:lnTo>
                  <a:lnTo>
                    <a:pt x="336" y="1723"/>
                  </a:lnTo>
                  <a:lnTo>
                    <a:pt x="349" y="1720"/>
                  </a:lnTo>
                  <a:lnTo>
                    <a:pt x="361" y="1719"/>
                  </a:lnTo>
                  <a:lnTo>
                    <a:pt x="373" y="1717"/>
                  </a:lnTo>
                  <a:lnTo>
                    <a:pt x="398" y="1710"/>
                  </a:lnTo>
                  <a:lnTo>
                    <a:pt x="421" y="1704"/>
                  </a:lnTo>
                  <a:lnTo>
                    <a:pt x="432" y="1699"/>
                  </a:lnTo>
                  <a:lnTo>
                    <a:pt x="443" y="1695"/>
                  </a:lnTo>
                  <a:lnTo>
                    <a:pt x="466" y="1684"/>
                  </a:lnTo>
                  <a:lnTo>
                    <a:pt x="487" y="1673"/>
                  </a:lnTo>
                  <a:lnTo>
                    <a:pt x="416" y="1534"/>
                  </a:lnTo>
                  <a:lnTo>
                    <a:pt x="403" y="1540"/>
                  </a:lnTo>
                  <a:lnTo>
                    <a:pt x="391" y="1547"/>
                  </a:lnTo>
                  <a:lnTo>
                    <a:pt x="379" y="1553"/>
                  </a:lnTo>
                  <a:lnTo>
                    <a:pt x="372" y="1555"/>
                  </a:lnTo>
                  <a:lnTo>
                    <a:pt x="366" y="1557"/>
                  </a:lnTo>
                  <a:lnTo>
                    <a:pt x="351" y="1560"/>
                  </a:lnTo>
                  <a:lnTo>
                    <a:pt x="343" y="1563"/>
                  </a:lnTo>
                  <a:lnTo>
                    <a:pt x="336" y="1564"/>
                  </a:lnTo>
                  <a:lnTo>
                    <a:pt x="328" y="1565"/>
                  </a:lnTo>
                  <a:lnTo>
                    <a:pt x="320" y="1565"/>
                  </a:lnTo>
                  <a:lnTo>
                    <a:pt x="303" y="1566"/>
                  </a:lnTo>
                  <a:lnTo>
                    <a:pt x="290" y="1565"/>
                  </a:lnTo>
                  <a:lnTo>
                    <a:pt x="278" y="1564"/>
                  </a:lnTo>
                  <a:lnTo>
                    <a:pt x="266" y="1560"/>
                  </a:lnTo>
                  <a:lnTo>
                    <a:pt x="253" y="1557"/>
                  </a:lnTo>
                  <a:lnTo>
                    <a:pt x="242" y="1553"/>
                  </a:lnTo>
                  <a:lnTo>
                    <a:pt x="232" y="1547"/>
                  </a:lnTo>
                  <a:lnTo>
                    <a:pt x="222" y="1540"/>
                  </a:lnTo>
                  <a:lnTo>
                    <a:pt x="217" y="1537"/>
                  </a:lnTo>
                  <a:lnTo>
                    <a:pt x="212" y="1534"/>
                  </a:lnTo>
                  <a:lnTo>
                    <a:pt x="203" y="1525"/>
                  </a:lnTo>
                  <a:lnTo>
                    <a:pt x="197" y="1516"/>
                  </a:lnTo>
                  <a:lnTo>
                    <a:pt x="192" y="1510"/>
                  </a:lnTo>
                  <a:lnTo>
                    <a:pt x="190" y="1505"/>
                  </a:lnTo>
                  <a:lnTo>
                    <a:pt x="183" y="1495"/>
                  </a:lnTo>
                  <a:lnTo>
                    <a:pt x="181" y="1488"/>
                  </a:lnTo>
                  <a:lnTo>
                    <a:pt x="179" y="1483"/>
                  </a:lnTo>
                  <a:lnTo>
                    <a:pt x="178" y="1476"/>
                  </a:lnTo>
                  <a:lnTo>
                    <a:pt x="176" y="1469"/>
                  </a:lnTo>
                  <a:lnTo>
                    <a:pt x="175" y="1463"/>
                  </a:lnTo>
                  <a:lnTo>
                    <a:pt x="175" y="1456"/>
                  </a:lnTo>
                  <a:lnTo>
                    <a:pt x="173" y="1449"/>
                  </a:lnTo>
                  <a:lnTo>
                    <a:pt x="173" y="1442"/>
                  </a:lnTo>
                  <a:lnTo>
                    <a:pt x="173" y="1434"/>
                  </a:lnTo>
                  <a:lnTo>
                    <a:pt x="175" y="1427"/>
                  </a:lnTo>
                  <a:lnTo>
                    <a:pt x="176" y="1414"/>
                  </a:lnTo>
                  <a:lnTo>
                    <a:pt x="178" y="1407"/>
                  </a:lnTo>
                  <a:lnTo>
                    <a:pt x="179" y="1401"/>
                  </a:lnTo>
                  <a:lnTo>
                    <a:pt x="183" y="1388"/>
                  </a:lnTo>
                  <a:lnTo>
                    <a:pt x="190" y="1377"/>
                  </a:lnTo>
                  <a:lnTo>
                    <a:pt x="192" y="1373"/>
                  </a:lnTo>
                  <a:lnTo>
                    <a:pt x="197" y="1367"/>
                  </a:lnTo>
                  <a:lnTo>
                    <a:pt x="200" y="1363"/>
                  </a:lnTo>
                  <a:lnTo>
                    <a:pt x="203" y="1358"/>
                  </a:lnTo>
                  <a:lnTo>
                    <a:pt x="208" y="1354"/>
                  </a:lnTo>
                  <a:lnTo>
                    <a:pt x="212" y="1349"/>
                  </a:lnTo>
                  <a:lnTo>
                    <a:pt x="222" y="1343"/>
                  </a:lnTo>
                  <a:lnTo>
                    <a:pt x="232" y="1336"/>
                  </a:lnTo>
                  <a:lnTo>
                    <a:pt x="242" y="1331"/>
                  </a:lnTo>
                  <a:lnTo>
                    <a:pt x="248" y="1328"/>
                  </a:lnTo>
                  <a:lnTo>
                    <a:pt x="253" y="1326"/>
                  </a:lnTo>
                  <a:lnTo>
                    <a:pt x="266" y="1322"/>
                  </a:lnTo>
                  <a:lnTo>
                    <a:pt x="271" y="1321"/>
                  </a:lnTo>
                  <a:lnTo>
                    <a:pt x="278" y="1319"/>
                  </a:lnTo>
                  <a:lnTo>
                    <a:pt x="290" y="1318"/>
                  </a:lnTo>
                  <a:lnTo>
                    <a:pt x="303" y="1317"/>
                  </a:lnTo>
                  <a:lnTo>
                    <a:pt x="320" y="1318"/>
                  </a:lnTo>
                  <a:lnTo>
                    <a:pt x="328" y="1318"/>
                  </a:lnTo>
                  <a:lnTo>
                    <a:pt x="336" y="1319"/>
                  </a:lnTo>
                  <a:lnTo>
                    <a:pt x="351" y="1322"/>
                  </a:lnTo>
                  <a:lnTo>
                    <a:pt x="366" y="1326"/>
                  </a:lnTo>
                  <a:lnTo>
                    <a:pt x="379" y="1331"/>
                  </a:lnTo>
                  <a:lnTo>
                    <a:pt x="391" y="1336"/>
                  </a:lnTo>
                  <a:lnTo>
                    <a:pt x="403" y="1343"/>
                  </a:lnTo>
                  <a:lnTo>
                    <a:pt x="416" y="1349"/>
                  </a:lnTo>
                  <a:lnTo>
                    <a:pt x="487" y="1211"/>
                  </a:lnTo>
                  <a:lnTo>
                    <a:pt x="466" y="1198"/>
                  </a:lnTo>
                  <a:lnTo>
                    <a:pt x="443" y="1188"/>
                  </a:lnTo>
                  <a:lnTo>
                    <a:pt x="432" y="1184"/>
                  </a:lnTo>
                  <a:lnTo>
                    <a:pt x="421" y="1179"/>
                  </a:lnTo>
                  <a:lnTo>
                    <a:pt x="409" y="1176"/>
                  </a:lnTo>
                  <a:lnTo>
                    <a:pt x="398" y="1172"/>
                  </a:lnTo>
                  <a:lnTo>
                    <a:pt x="386" y="1169"/>
                  </a:lnTo>
                  <a:lnTo>
                    <a:pt x="373" y="1166"/>
                  </a:lnTo>
                  <a:lnTo>
                    <a:pt x="361" y="1164"/>
                  </a:lnTo>
                  <a:lnTo>
                    <a:pt x="349" y="1163"/>
                  </a:lnTo>
                  <a:lnTo>
                    <a:pt x="336" y="1161"/>
                  </a:lnTo>
                  <a:lnTo>
                    <a:pt x="322" y="1160"/>
                  </a:lnTo>
                  <a:lnTo>
                    <a:pt x="296" y="1158"/>
                  </a:lnTo>
                  <a:lnTo>
                    <a:pt x="279" y="1160"/>
                  </a:lnTo>
                  <a:lnTo>
                    <a:pt x="263" y="1161"/>
                  </a:lnTo>
                  <a:lnTo>
                    <a:pt x="249" y="1162"/>
                  </a:lnTo>
                  <a:lnTo>
                    <a:pt x="233" y="1164"/>
                  </a:lnTo>
                  <a:lnTo>
                    <a:pt x="219" y="1167"/>
                  </a:lnTo>
                  <a:lnTo>
                    <a:pt x="205" y="1171"/>
                  </a:lnTo>
                  <a:lnTo>
                    <a:pt x="198" y="1172"/>
                  </a:lnTo>
                  <a:lnTo>
                    <a:pt x="191" y="1174"/>
                  </a:lnTo>
                  <a:lnTo>
                    <a:pt x="177" y="1179"/>
                  </a:lnTo>
                  <a:lnTo>
                    <a:pt x="165" y="1184"/>
                  </a:lnTo>
                  <a:lnTo>
                    <a:pt x="151" y="1189"/>
                  </a:lnTo>
                  <a:lnTo>
                    <a:pt x="139" y="1196"/>
                  </a:lnTo>
                  <a:lnTo>
                    <a:pt x="127" y="1203"/>
                  </a:lnTo>
                  <a:lnTo>
                    <a:pt x="116" y="1211"/>
                  </a:lnTo>
                  <a:lnTo>
                    <a:pt x="105" y="1218"/>
                  </a:lnTo>
                  <a:lnTo>
                    <a:pt x="94" y="1227"/>
                  </a:lnTo>
                  <a:lnTo>
                    <a:pt x="84" y="1236"/>
                  </a:lnTo>
                  <a:lnTo>
                    <a:pt x="75" y="1245"/>
                  </a:lnTo>
                  <a:lnTo>
                    <a:pt x="65" y="1255"/>
                  </a:lnTo>
                  <a:lnTo>
                    <a:pt x="57" y="1266"/>
                  </a:lnTo>
                  <a:lnTo>
                    <a:pt x="48" y="1277"/>
                  </a:lnTo>
                  <a:lnTo>
                    <a:pt x="41" y="1288"/>
                  </a:lnTo>
                  <a:lnTo>
                    <a:pt x="35" y="1301"/>
                  </a:lnTo>
                  <a:lnTo>
                    <a:pt x="28" y="1313"/>
                  </a:lnTo>
                  <a:lnTo>
                    <a:pt x="22" y="1325"/>
                  </a:lnTo>
                  <a:lnTo>
                    <a:pt x="17" y="1338"/>
                  </a:lnTo>
                  <a:lnTo>
                    <a:pt x="12" y="1352"/>
                  </a:lnTo>
                  <a:lnTo>
                    <a:pt x="9" y="1366"/>
                  </a:lnTo>
                  <a:lnTo>
                    <a:pt x="6" y="1381"/>
                  </a:lnTo>
                  <a:lnTo>
                    <a:pt x="4" y="1395"/>
                  </a:lnTo>
                  <a:lnTo>
                    <a:pt x="2" y="1403"/>
                  </a:lnTo>
                  <a:lnTo>
                    <a:pt x="1" y="1411"/>
                  </a:lnTo>
                  <a:lnTo>
                    <a:pt x="0" y="1426"/>
                  </a:lnTo>
                  <a:lnTo>
                    <a:pt x="0" y="1442"/>
                  </a:lnTo>
                  <a:lnTo>
                    <a:pt x="0" y="1457"/>
                  </a:lnTo>
                  <a:lnTo>
                    <a:pt x="1" y="1473"/>
                  </a:lnTo>
                  <a:lnTo>
                    <a:pt x="4" y="1488"/>
                  </a:lnTo>
                  <a:lnTo>
                    <a:pt x="6" y="1503"/>
                  </a:lnTo>
                  <a:lnTo>
                    <a:pt x="9" y="1517"/>
                  </a:lnTo>
                  <a:lnTo>
                    <a:pt x="12" y="1532"/>
                  </a:lnTo>
                  <a:lnTo>
                    <a:pt x="17" y="1545"/>
                  </a:lnTo>
                  <a:lnTo>
                    <a:pt x="22" y="1558"/>
                  </a:lnTo>
                  <a:lnTo>
                    <a:pt x="25" y="1565"/>
                  </a:lnTo>
                  <a:lnTo>
                    <a:pt x="28" y="1570"/>
                  </a:lnTo>
                  <a:lnTo>
                    <a:pt x="35" y="1583"/>
                  </a:lnTo>
                  <a:lnTo>
                    <a:pt x="41" y="1595"/>
                  </a:lnTo>
                  <a:lnTo>
                    <a:pt x="48" y="1606"/>
                  </a:lnTo>
                  <a:lnTo>
                    <a:pt x="57" y="1617"/>
                  </a:lnTo>
                  <a:lnTo>
                    <a:pt x="65" y="1627"/>
                  </a:lnTo>
                  <a:lnTo>
                    <a:pt x="75" y="1637"/>
                  </a:lnTo>
                  <a:lnTo>
                    <a:pt x="84" y="1647"/>
                  </a:lnTo>
                  <a:lnTo>
                    <a:pt x="94" y="1656"/>
                  </a:lnTo>
                  <a:lnTo>
                    <a:pt x="105" y="1665"/>
                  </a:lnTo>
                  <a:lnTo>
                    <a:pt x="116" y="1673"/>
                  </a:lnTo>
                  <a:lnTo>
                    <a:pt x="127" y="1680"/>
                  </a:lnTo>
                  <a:lnTo>
                    <a:pt x="139" y="1687"/>
                  </a:lnTo>
                  <a:lnTo>
                    <a:pt x="151" y="1693"/>
                  </a:lnTo>
                  <a:lnTo>
                    <a:pt x="165" y="1699"/>
                  </a:lnTo>
                  <a:lnTo>
                    <a:pt x="177" y="1704"/>
                  </a:lnTo>
                  <a:lnTo>
                    <a:pt x="191" y="1708"/>
                  </a:lnTo>
                  <a:lnTo>
                    <a:pt x="205" y="1713"/>
                  </a:lnTo>
                  <a:lnTo>
                    <a:pt x="219" y="1716"/>
                  </a:lnTo>
                  <a:lnTo>
                    <a:pt x="233" y="1719"/>
                  </a:lnTo>
                  <a:lnTo>
                    <a:pt x="249" y="1722"/>
                  </a:lnTo>
                  <a:lnTo>
                    <a:pt x="263" y="1723"/>
                  </a:lnTo>
                  <a:lnTo>
                    <a:pt x="279" y="1724"/>
                  </a:lnTo>
                  <a:lnTo>
                    <a:pt x="296" y="1724"/>
                  </a:lnTo>
                  <a:close/>
                  <a:moveTo>
                    <a:pt x="681" y="903"/>
                  </a:moveTo>
                  <a:lnTo>
                    <a:pt x="508" y="903"/>
                  </a:lnTo>
                  <a:lnTo>
                    <a:pt x="508" y="1707"/>
                  </a:lnTo>
                  <a:lnTo>
                    <a:pt x="681" y="1707"/>
                  </a:lnTo>
                  <a:lnTo>
                    <a:pt x="681" y="1441"/>
                  </a:lnTo>
                  <a:lnTo>
                    <a:pt x="681" y="1424"/>
                  </a:lnTo>
                  <a:lnTo>
                    <a:pt x="683" y="1408"/>
                  </a:lnTo>
                  <a:lnTo>
                    <a:pt x="684" y="1401"/>
                  </a:lnTo>
                  <a:lnTo>
                    <a:pt x="686" y="1394"/>
                  </a:lnTo>
                  <a:lnTo>
                    <a:pt x="687" y="1387"/>
                  </a:lnTo>
                  <a:lnTo>
                    <a:pt x="689" y="1381"/>
                  </a:lnTo>
                  <a:lnTo>
                    <a:pt x="693" y="1368"/>
                  </a:lnTo>
                  <a:lnTo>
                    <a:pt x="698" y="1358"/>
                  </a:lnTo>
                  <a:lnTo>
                    <a:pt x="701" y="1354"/>
                  </a:lnTo>
                  <a:lnTo>
                    <a:pt x="703" y="1349"/>
                  </a:lnTo>
                  <a:lnTo>
                    <a:pt x="707" y="1345"/>
                  </a:lnTo>
                  <a:lnTo>
                    <a:pt x="710" y="1341"/>
                  </a:lnTo>
                  <a:lnTo>
                    <a:pt x="718" y="1334"/>
                  </a:lnTo>
                  <a:lnTo>
                    <a:pt x="726" y="1327"/>
                  </a:lnTo>
                  <a:lnTo>
                    <a:pt x="733" y="1323"/>
                  </a:lnTo>
                  <a:lnTo>
                    <a:pt x="742" y="1318"/>
                  </a:lnTo>
                  <a:lnTo>
                    <a:pt x="752" y="1315"/>
                  </a:lnTo>
                  <a:lnTo>
                    <a:pt x="762" y="1314"/>
                  </a:lnTo>
                  <a:lnTo>
                    <a:pt x="772" y="1312"/>
                  </a:lnTo>
                  <a:lnTo>
                    <a:pt x="783" y="1312"/>
                  </a:lnTo>
                  <a:lnTo>
                    <a:pt x="794" y="1312"/>
                  </a:lnTo>
                  <a:lnTo>
                    <a:pt x="806" y="1314"/>
                  </a:lnTo>
                  <a:lnTo>
                    <a:pt x="816" y="1315"/>
                  </a:lnTo>
                  <a:lnTo>
                    <a:pt x="824" y="1318"/>
                  </a:lnTo>
                  <a:lnTo>
                    <a:pt x="833" y="1323"/>
                  </a:lnTo>
                  <a:lnTo>
                    <a:pt x="841" y="1327"/>
                  </a:lnTo>
                  <a:lnTo>
                    <a:pt x="849" y="1333"/>
                  </a:lnTo>
                  <a:lnTo>
                    <a:pt x="852" y="1336"/>
                  </a:lnTo>
                  <a:lnTo>
                    <a:pt x="856" y="1339"/>
                  </a:lnTo>
                  <a:lnTo>
                    <a:pt x="861" y="1347"/>
                  </a:lnTo>
                  <a:lnTo>
                    <a:pt x="865" y="1355"/>
                  </a:lnTo>
                  <a:lnTo>
                    <a:pt x="868" y="1361"/>
                  </a:lnTo>
                  <a:lnTo>
                    <a:pt x="870" y="1365"/>
                  </a:lnTo>
                  <a:lnTo>
                    <a:pt x="872" y="1369"/>
                  </a:lnTo>
                  <a:lnTo>
                    <a:pt x="873" y="1375"/>
                  </a:lnTo>
                  <a:lnTo>
                    <a:pt x="877" y="1386"/>
                  </a:lnTo>
                  <a:lnTo>
                    <a:pt x="878" y="1399"/>
                  </a:lnTo>
                  <a:lnTo>
                    <a:pt x="879" y="1413"/>
                  </a:lnTo>
                  <a:lnTo>
                    <a:pt x="880" y="1426"/>
                  </a:lnTo>
                  <a:lnTo>
                    <a:pt x="880" y="1707"/>
                  </a:lnTo>
                  <a:lnTo>
                    <a:pt x="1053" y="1707"/>
                  </a:lnTo>
                  <a:lnTo>
                    <a:pt x="1053" y="1378"/>
                  </a:lnTo>
                  <a:lnTo>
                    <a:pt x="1053" y="1364"/>
                  </a:lnTo>
                  <a:lnTo>
                    <a:pt x="1052" y="1351"/>
                  </a:lnTo>
                  <a:lnTo>
                    <a:pt x="1051" y="1338"/>
                  </a:lnTo>
                  <a:lnTo>
                    <a:pt x="1050" y="1325"/>
                  </a:lnTo>
                  <a:lnTo>
                    <a:pt x="1048" y="1314"/>
                  </a:lnTo>
                  <a:lnTo>
                    <a:pt x="1044" y="1302"/>
                  </a:lnTo>
                  <a:lnTo>
                    <a:pt x="1042" y="1291"/>
                  </a:lnTo>
                  <a:lnTo>
                    <a:pt x="1039" y="1281"/>
                  </a:lnTo>
                  <a:lnTo>
                    <a:pt x="1034" y="1269"/>
                  </a:lnTo>
                  <a:lnTo>
                    <a:pt x="1031" y="1261"/>
                  </a:lnTo>
                  <a:lnTo>
                    <a:pt x="1025" y="1251"/>
                  </a:lnTo>
                  <a:lnTo>
                    <a:pt x="1021" y="1243"/>
                  </a:lnTo>
                  <a:lnTo>
                    <a:pt x="1015" y="1234"/>
                  </a:lnTo>
                  <a:lnTo>
                    <a:pt x="1010" y="1226"/>
                  </a:lnTo>
                  <a:lnTo>
                    <a:pt x="1003" y="1218"/>
                  </a:lnTo>
                  <a:lnTo>
                    <a:pt x="998" y="1212"/>
                  </a:lnTo>
                  <a:lnTo>
                    <a:pt x="990" y="1205"/>
                  </a:lnTo>
                  <a:lnTo>
                    <a:pt x="983" y="1199"/>
                  </a:lnTo>
                  <a:lnTo>
                    <a:pt x="975" y="1194"/>
                  </a:lnTo>
                  <a:lnTo>
                    <a:pt x="968" y="1188"/>
                  </a:lnTo>
                  <a:lnTo>
                    <a:pt x="960" y="1184"/>
                  </a:lnTo>
                  <a:lnTo>
                    <a:pt x="952" y="1179"/>
                  </a:lnTo>
                  <a:lnTo>
                    <a:pt x="943" y="1175"/>
                  </a:lnTo>
                  <a:lnTo>
                    <a:pt x="934" y="1172"/>
                  </a:lnTo>
                  <a:lnTo>
                    <a:pt x="924" y="1168"/>
                  </a:lnTo>
                  <a:lnTo>
                    <a:pt x="915" y="1166"/>
                  </a:lnTo>
                  <a:lnTo>
                    <a:pt x="905" y="1164"/>
                  </a:lnTo>
                  <a:lnTo>
                    <a:pt x="895" y="1162"/>
                  </a:lnTo>
                  <a:lnTo>
                    <a:pt x="885" y="1161"/>
                  </a:lnTo>
                  <a:lnTo>
                    <a:pt x="874" y="1160"/>
                  </a:lnTo>
                  <a:lnTo>
                    <a:pt x="864" y="1160"/>
                  </a:lnTo>
                  <a:lnTo>
                    <a:pt x="853" y="1158"/>
                  </a:lnTo>
                  <a:lnTo>
                    <a:pt x="839" y="1160"/>
                  </a:lnTo>
                  <a:lnTo>
                    <a:pt x="826" y="1161"/>
                  </a:lnTo>
                  <a:lnTo>
                    <a:pt x="812" y="1162"/>
                  </a:lnTo>
                  <a:lnTo>
                    <a:pt x="800" y="1165"/>
                  </a:lnTo>
                  <a:lnTo>
                    <a:pt x="788" y="1167"/>
                  </a:lnTo>
                  <a:lnTo>
                    <a:pt x="776" y="1172"/>
                  </a:lnTo>
                  <a:lnTo>
                    <a:pt x="764" y="1176"/>
                  </a:lnTo>
                  <a:lnTo>
                    <a:pt x="753" y="1182"/>
                  </a:lnTo>
                  <a:lnTo>
                    <a:pt x="743" y="1187"/>
                  </a:lnTo>
                  <a:lnTo>
                    <a:pt x="733" y="1194"/>
                  </a:lnTo>
                  <a:lnTo>
                    <a:pt x="723" y="1201"/>
                  </a:lnTo>
                  <a:lnTo>
                    <a:pt x="714" y="1208"/>
                  </a:lnTo>
                  <a:lnTo>
                    <a:pt x="706" y="1217"/>
                  </a:lnTo>
                  <a:lnTo>
                    <a:pt x="702" y="1222"/>
                  </a:lnTo>
                  <a:lnTo>
                    <a:pt x="698" y="1226"/>
                  </a:lnTo>
                  <a:lnTo>
                    <a:pt x="690" y="1236"/>
                  </a:lnTo>
                  <a:lnTo>
                    <a:pt x="683" y="1246"/>
                  </a:lnTo>
                  <a:lnTo>
                    <a:pt x="681" y="1246"/>
                  </a:lnTo>
                  <a:lnTo>
                    <a:pt x="681" y="903"/>
                  </a:lnTo>
                  <a:close/>
                  <a:moveTo>
                    <a:pt x="1341" y="1724"/>
                  </a:moveTo>
                  <a:lnTo>
                    <a:pt x="1356" y="1724"/>
                  </a:lnTo>
                  <a:lnTo>
                    <a:pt x="1372" y="1723"/>
                  </a:lnTo>
                  <a:lnTo>
                    <a:pt x="1386" y="1720"/>
                  </a:lnTo>
                  <a:lnTo>
                    <a:pt x="1400" y="1718"/>
                  </a:lnTo>
                  <a:lnTo>
                    <a:pt x="1412" y="1714"/>
                  </a:lnTo>
                  <a:lnTo>
                    <a:pt x="1424" y="1710"/>
                  </a:lnTo>
                  <a:lnTo>
                    <a:pt x="1436" y="1705"/>
                  </a:lnTo>
                  <a:lnTo>
                    <a:pt x="1448" y="1699"/>
                  </a:lnTo>
                  <a:lnTo>
                    <a:pt x="1458" y="1694"/>
                  </a:lnTo>
                  <a:lnTo>
                    <a:pt x="1468" y="1687"/>
                  </a:lnTo>
                  <a:lnTo>
                    <a:pt x="1476" y="1679"/>
                  </a:lnTo>
                  <a:lnTo>
                    <a:pt x="1485" y="1672"/>
                  </a:lnTo>
                  <a:lnTo>
                    <a:pt x="1493" y="1663"/>
                  </a:lnTo>
                  <a:lnTo>
                    <a:pt x="1501" y="1654"/>
                  </a:lnTo>
                  <a:lnTo>
                    <a:pt x="1508" y="1645"/>
                  </a:lnTo>
                  <a:lnTo>
                    <a:pt x="1514" y="1635"/>
                  </a:lnTo>
                  <a:lnTo>
                    <a:pt x="1516" y="1635"/>
                  </a:lnTo>
                  <a:lnTo>
                    <a:pt x="1516" y="1707"/>
                  </a:lnTo>
                  <a:lnTo>
                    <a:pt x="1690" y="1707"/>
                  </a:lnTo>
                  <a:lnTo>
                    <a:pt x="1690" y="1176"/>
                  </a:lnTo>
                  <a:lnTo>
                    <a:pt x="1516" y="1176"/>
                  </a:lnTo>
                  <a:lnTo>
                    <a:pt x="1516" y="1248"/>
                  </a:lnTo>
                  <a:lnTo>
                    <a:pt x="1514" y="1248"/>
                  </a:lnTo>
                  <a:lnTo>
                    <a:pt x="1508" y="1238"/>
                  </a:lnTo>
                  <a:lnTo>
                    <a:pt x="1501" y="1229"/>
                  </a:lnTo>
                  <a:lnTo>
                    <a:pt x="1493" y="1221"/>
                  </a:lnTo>
                  <a:lnTo>
                    <a:pt x="1485" y="1212"/>
                  </a:lnTo>
                  <a:lnTo>
                    <a:pt x="1476" y="1204"/>
                  </a:lnTo>
                  <a:lnTo>
                    <a:pt x="1468" y="1196"/>
                  </a:lnTo>
                  <a:lnTo>
                    <a:pt x="1463" y="1193"/>
                  </a:lnTo>
                  <a:lnTo>
                    <a:pt x="1458" y="1189"/>
                  </a:lnTo>
                  <a:lnTo>
                    <a:pt x="1448" y="1184"/>
                  </a:lnTo>
                  <a:lnTo>
                    <a:pt x="1436" y="1178"/>
                  </a:lnTo>
                  <a:lnTo>
                    <a:pt x="1424" y="1173"/>
                  </a:lnTo>
                  <a:lnTo>
                    <a:pt x="1412" y="1168"/>
                  </a:lnTo>
                  <a:lnTo>
                    <a:pt x="1400" y="1165"/>
                  </a:lnTo>
                  <a:lnTo>
                    <a:pt x="1386" y="1163"/>
                  </a:lnTo>
                  <a:lnTo>
                    <a:pt x="1372" y="1161"/>
                  </a:lnTo>
                  <a:lnTo>
                    <a:pt x="1356" y="1160"/>
                  </a:lnTo>
                  <a:lnTo>
                    <a:pt x="1341" y="1158"/>
                  </a:lnTo>
                  <a:lnTo>
                    <a:pt x="1328" y="1160"/>
                  </a:lnTo>
                  <a:lnTo>
                    <a:pt x="1315" y="1160"/>
                  </a:lnTo>
                  <a:lnTo>
                    <a:pt x="1303" y="1162"/>
                  </a:lnTo>
                  <a:lnTo>
                    <a:pt x="1291" y="1164"/>
                  </a:lnTo>
                  <a:lnTo>
                    <a:pt x="1279" y="1166"/>
                  </a:lnTo>
                  <a:lnTo>
                    <a:pt x="1266" y="1169"/>
                  </a:lnTo>
                  <a:lnTo>
                    <a:pt x="1254" y="1173"/>
                  </a:lnTo>
                  <a:lnTo>
                    <a:pt x="1243" y="1177"/>
                  </a:lnTo>
                  <a:lnTo>
                    <a:pt x="1232" y="1182"/>
                  </a:lnTo>
                  <a:lnTo>
                    <a:pt x="1221" y="1187"/>
                  </a:lnTo>
                  <a:lnTo>
                    <a:pt x="1211" y="1193"/>
                  </a:lnTo>
                  <a:lnTo>
                    <a:pt x="1201" y="1199"/>
                  </a:lnTo>
                  <a:lnTo>
                    <a:pt x="1191" y="1206"/>
                  </a:lnTo>
                  <a:lnTo>
                    <a:pt x="1181" y="1214"/>
                  </a:lnTo>
                  <a:lnTo>
                    <a:pt x="1172" y="1222"/>
                  </a:lnTo>
                  <a:lnTo>
                    <a:pt x="1163" y="1231"/>
                  </a:lnTo>
                  <a:lnTo>
                    <a:pt x="1155" y="1239"/>
                  </a:lnTo>
                  <a:lnTo>
                    <a:pt x="1147" y="1249"/>
                  </a:lnTo>
                  <a:lnTo>
                    <a:pt x="1140" y="1259"/>
                  </a:lnTo>
                  <a:lnTo>
                    <a:pt x="1132" y="1271"/>
                  </a:lnTo>
                  <a:lnTo>
                    <a:pt x="1125" y="1282"/>
                  </a:lnTo>
                  <a:lnTo>
                    <a:pt x="1120" y="1294"/>
                  </a:lnTo>
                  <a:lnTo>
                    <a:pt x="1114" y="1306"/>
                  </a:lnTo>
                  <a:lnTo>
                    <a:pt x="1109" y="1318"/>
                  </a:lnTo>
                  <a:lnTo>
                    <a:pt x="1104" y="1333"/>
                  </a:lnTo>
                  <a:lnTo>
                    <a:pt x="1101" y="1346"/>
                  </a:lnTo>
                  <a:lnTo>
                    <a:pt x="1098" y="1361"/>
                  </a:lnTo>
                  <a:lnTo>
                    <a:pt x="1094" y="1376"/>
                  </a:lnTo>
                  <a:lnTo>
                    <a:pt x="1092" y="1392"/>
                  </a:lnTo>
                  <a:lnTo>
                    <a:pt x="1091" y="1407"/>
                  </a:lnTo>
                  <a:lnTo>
                    <a:pt x="1090" y="1424"/>
                  </a:lnTo>
                  <a:lnTo>
                    <a:pt x="1089" y="1442"/>
                  </a:lnTo>
                  <a:lnTo>
                    <a:pt x="1090" y="1458"/>
                  </a:lnTo>
                  <a:lnTo>
                    <a:pt x="1091" y="1475"/>
                  </a:lnTo>
                  <a:lnTo>
                    <a:pt x="1092" y="1492"/>
                  </a:lnTo>
                  <a:lnTo>
                    <a:pt x="1094" y="1507"/>
                  </a:lnTo>
                  <a:lnTo>
                    <a:pt x="1098" y="1523"/>
                  </a:lnTo>
                  <a:lnTo>
                    <a:pt x="1101" y="1537"/>
                  </a:lnTo>
                  <a:lnTo>
                    <a:pt x="1104" y="1550"/>
                  </a:lnTo>
                  <a:lnTo>
                    <a:pt x="1109" y="1564"/>
                  </a:lnTo>
                  <a:lnTo>
                    <a:pt x="1114" y="1577"/>
                  </a:lnTo>
                  <a:lnTo>
                    <a:pt x="1120" y="1589"/>
                  </a:lnTo>
                  <a:lnTo>
                    <a:pt x="1125" y="1602"/>
                  </a:lnTo>
                  <a:lnTo>
                    <a:pt x="1132" y="1613"/>
                  </a:lnTo>
                  <a:lnTo>
                    <a:pt x="1140" y="1624"/>
                  </a:lnTo>
                  <a:lnTo>
                    <a:pt x="1147" y="1634"/>
                  </a:lnTo>
                  <a:lnTo>
                    <a:pt x="1155" y="1644"/>
                  </a:lnTo>
                  <a:lnTo>
                    <a:pt x="1163" y="1653"/>
                  </a:lnTo>
                  <a:lnTo>
                    <a:pt x="1172" y="1662"/>
                  </a:lnTo>
                  <a:lnTo>
                    <a:pt x="1181" y="1669"/>
                  </a:lnTo>
                  <a:lnTo>
                    <a:pt x="1191" y="1677"/>
                  </a:lnTo>
                  <a:lnTo>
                    <a:pt x="1201" y="1684"/>
                  </a:lnTo>
                  <a:lnTo>
                    <a:pt x="1211" y="1690"/>
                  </a:lnTo>
                  <a:lnTo>
                    <a:pt x="1221" y="1696"/>
                  </a:lnTo>
                  <a:lnTo>
                    <a:pt x="1232" y="1702"/>
                  </a:lnTo>
                  <a:lnTo>
                    <a:pt x="1243" y="1706"/>
                  </a:lnTo>
                  <a:lnTo>
                    <a:pt x="1254" y="1710"/>
                  </a:lnTo>
                  <a:lnTo>
                    <a:pt x="1266" y="1714"/>
                  </a:lnTo>
                  <a:lnTo>
                    <a:pt x="1279" y="1717"/>
                  </a:lnTo>
                  <a:lnTo>
                    <a:pt x="1291" y="1719"/>
                  </a:lnTo>
                  <a:lnTo>
                    <a:pt x="1303" y="1722"/>
                  </a:lnTo>
                  <a:lnTo>
                    <a:pt x="1315" y="1723"/>
                  </a:lnTo>
                  <a:lnTo>
                    <a:pt x="1328" y="1724"/>
                  </a:lnTo>
                  <a:lnTo>
                    <a:pt x="1341" y="1724"/>
                  </a:lnTo>
                  <a:close/>
                  <a:moveTo>
                    <a:pt x="1389" y="1566"/>
                  </a:moveTo>
                  <a:lnTo>
                    <a:pt x="1376" y="1565"/>
                  </a:lnTo>
                  <a:lnTo>
                    <a:pt x="1370" y="1565"/>
                  </a:lnTo>
                  <a:lnTo>
                    <a:pt x="1364" y="1564"/>
                  </a:lnTo>
                  <a:lnTo>
                    <a:pt x="1352" y="1560"/>
                  </a:lnTo>
                  <a:lnTo>
                    <a:pt x="1346" y="1559"/>
                  </a:lnTo>
                  <a:lnTo>
                    <a:pt x="1341" y="1557"/>
                  </a:lnTo>
                  <a:lnTo>
                    <a:pt x="1330" y="1552"/>
                  </a:lnTo>
                  <a:lnTo>
                    <a:pt x="1325" y="1549"/>
                  </a:lnTo>
                  <a:lnTo>
                    <a:pt x="1320" y="1546"/>
                  </a:lnTo>
                  <a:lnTo>
                    <a:pt x="1315" y="1543"/>
                  </a:lnTo>
                  <a:lnTo>
                    <a:pt x="1311" y="1539"/>
                  </a:lnTo>
                  <a:lnTo>
                    <a:pt x="1302" y="1532"/>
                  </a:lnTo>
                  <a:lnTo>
                    <a:pt x="1294" y="1524"/>
                  </a:lnTo>
                  <a:lnTo>
                    <a:pt x="1288" y="1514"/>
                  </a:lnTo>
                  <a:lnTo>
                    <a:pt x="1282" y="1504"/>
                  </a:lnTo>
                  <a:lnTo>
                    <a:pt x="1279" y="1498"/>
                  </a:lnTo>
                  <a:lnTo>
                    <a:pt x="1276" y="1493"/>
                  </a:lnTo>
                  <a:lnTo>
                    <a:pt x="1272" y="1482"/>
                  </a:lnTo>
                  <a:lnTo>
                    <a:pt x="1270" y="1468"/>
                  </a:lnTo>
                  <a:lnTo>
                    <a:pt x="1269" y="1462"/>
                  </a:lnTo>
                  <a:lnTo>
                    <a:pt x="1268" y="1455"/>
                  </a:lnTo>
                  <a:lnTo>
                    <a:pt x="1268" y="1442"/>
                  </a:lnTo>
                  <a:lnTo>
                    <a:pt x="1268" y="1427"/>
                  </a:lnTo>
                  <a:lnTo>
                    <a:pt x="1270" y="1415"/>
                  </a:lnTo>
                  <a:lnTo>
                    <a:pt x="1271" y="1408"/>
                  </a:lnTo>
                  <a:lnTo>
                    <a:pt x="1272" y="1402"/>
                  </a:lnTo>
                  <a:lnTo>
                    <a:pt x="1276" y="1391"/>
                  </a:lnTo>
                  <a:lnTo>
                    <a:pt x="1279" y="1385"/>
                  </a:lnTo>
                  <a:lnTo>
                    <a:pt x="1282" y="1379"/>
                  </a:lnTo>
                  <a:lnTo>
                    <a:pt x="1288" y="1369"/>
                  </a:lnTo>
                  <a:lnTo>
                    <a:pt x="1294" y="1359"/>
                  </a:lnTo>
                  <a:lnTo>
                    <a:pt x="1302" y="1351"/>
                  </a:lnTo>
                  <a:lnTo>
                    <a:pt x="1306" y="1347"/>
                  </a:lnTo>
                  <a:lnTo>
                    <a:pt x="1311" y="1344"/>
                  </a:lnTo>
                  <a:lnTo>
                    <a:pt x="1315" y="1341"/>
                  </a:lnTo>
                  <a:lnTo>
                    <a:pt x="1320" y="1337"/>
                  </a:lnTo>
                  <a:lnTo>
                    <a:pt x="1330" y="1331"/>
                  </a:lnTo>
                  <a:lnTo>
                    <a:pt x="1341" y="1326"/>
                  </a:lnTo>
                  <a:lnTo>
                    <a:pt x="1352" y="1323"/>
                  </a:lnTo>
                  <a:lnTo>
                    <a:pt x="1364" y="1319"/>
                  </a:lnTo>
                  <a:lnTo>
                    <a:pt x="1370" y="1318"/>
                  </a:lnTo>
                  <a:lnTo>
                    <a:pt x="1376" y="1318"/>
                  </a:lnTo>
                  <a:lnTo>
                    <a:pt x="1389" y="1317"/>
                  </a:lnTo>
                  <a:lnTo>
                    <a:pt x="1402" y="1318"/>
                  </a:lnTo>
                  <a:lnTo>
                    <a:pt x="1414" y="1319"/>
                  </a:lnTo>
                  <a:lnTo>
                    <a:pt x="1426" y="1323"/>
                  </a:lnTo>
                  <a:lnTo>
                    <a:pt x="1432" y="1324"/>
                  </a:lnTo>
                  <a:lnTo>
                    <a:pt x="1438" y="1326"/>
                  </a:lnTo>
                  <a:lnTo>
                    <a:pt x="1449" y="1331"/>
                  </a:lnTo>
                  <a:lnTo>
                    <a:pt x="1454" y="1334"/>
                  </a:lnTo>
                  <a:lnTo>
                    <a:pt x="1459" y="1337"/>
                  </a:lnTo>
                  <a:lnTo>
                    <a:pt x="1463" y="1341"/>
                  </a:lnTo>
                  <a:lnTo>
                    <a:pt x="1469" y="1344"/>
                  </a:lnTo>
                  <a:lnTo>
                    <a:pt x="1476" y="1351"/>
                  </a:lnTo>
                  <a:lnTo>
                    <a:pt x="1484" y="1359"/>
                  </a:lnTo>
                  <a:lnTo>
                    <a:pt x="1492" y="1369"/>
                  </a:lnTo>
                  <a:lnTo>
                    <a:pt x="1498" y="1379"/>
                  </a:lnTo>
                  <a:lnTo>
                    <a:pt x="1500" y="1385"/>
                  </a:lnTo>
                  <a:lnTo>
                    <a:pt x="1503" y="1391"/>
                  </a:lnTo>
                  <a:lnTo>
                    <a:pt x="1506" y="1402"/>
                  </a:lnTo>
                  <a:lnTo>
                    <a:pt x="1510" y="1415"/>
                  </a:lnTo>
                  <a:lnTo>
                    <a:pt x="1511" y="1421"/>
                  </a:lnTo>
                  <a:lnTo>
                    <a:pt x="1511" y="1427"/>
                  </a:lnTo>
                  <a:lnTo>
                    <a:pt x="1512" y="1442"/>
                  </a:lnTo>
                  <a:lnTo>
                    <a:pt x="1511" y="1455"/>
                  </a:lnTo>
                  <a:lnTo>
                    <a:pt x="1510" y="1468"/>
                  </a:lnTo>
                  <a:lnTo>
                    <a:pt x="1509" y="1475"/>
                  </a:lnTo>
                  <a:lnTo>
                    <a:pt x="1506" y="1482"/>
                  </a:lnTo>
                  <a:lnTo>
                    <a:pt x="1503" y="1493"/>
                  </a:lnTo>
                  <a:lnTo>
                    <a:pt x="1500" y="1498"/>
                  </a:lnTo>
                  <a:lnTo>
                    <a:pt x="1498" y="1504"/>
                  </a:lnTo>
                  <a:lnTo>
                    <a:pt x="1492" y="1514"/>
                  </a:lnTo>
                  <a:lnTo>
                    <a:pt x="1484" y="1524"/>
                  </a:lnTo>
                  <a:lnTo>
                    <a:pt x="1476" y="1532"/>
                  </a:lnTo>
                  <a:lnTo>
                    <a:pt x="1473" y="1536"/>
                  </a:lnTo>
                  <a:lnTo>
                    <a:pt x="1469" y="1539"/>
                  </a:lnTo>
                  <a:lnTo>
                    <a:pt x="1463" y="1543"/>
                  </a:lnTo>
                  <a:lnTo>
                    <a:pt x="1459" y="1546"/>
                  </a:lnTo>
                  <a:lnTo>
                    <a:pt x="1449" y="1552"/>
                  </a:lnTo>
                  <a:lnTo>
                    <a:pt x="1438" y="1557"/>
                  </a:lnTo>
                  <a:lnTo>
                    <a:pt x="1426" y="1560"/>
                  </a:lnTo>
                  <a:lnTo>
                    <a:pt x="1414" y="1564"/>
                  </a:lnTo>
                  <a:lnTo>
                    <a:pt x="1402" y="1565"/>
                  </a:lnTo>
                  <a:lnTo>
                    <a:pt x="1389" y="1566"/>
                  </a:lnTo>
                  <a:close/>
                  <a:moveTo>
                    <a:pt x="2100" y="1158"/>
                  </a:moveTo>
                  <a:lnTo>
                    <a:pt x="2086" y="1160"/>
                  </a:lnTo>
                  <a:lnTo>
                    <a:pt x="2072" y="1161"/>
                  </a:lnTo>
                  <a:lnTo>
                    <a:pt x="2058" y="1163"/>
                  </a:lnTo>
                  <a:lnTo>
                    <a:pt x="2046" y="1165"/>
                  </a:lnTo>
                  <a:lnTo>
                    <a:pt x="2034" y="1169"/>
                  </a:lnTo>
                  <a:lnTo>
                    <a:pt x="2022" y="1174"/>
                  </a:lnTo>
                  <a:lnTo>
                    <a:pt x="2010" y="1178"/>
                  </a:lnTo>
                  <a:lnTo>
                    <a:pt x="1998" y="1184"/>
                  </a:lnTo>
                  <a:lnTo>
                    <a:pt x="1987" y="1191"/>
                  </a:lnTo>
                  <a:lnTo>
                    <a:pt x="1977" y="1198"/>
                  </a:lnTo>
                  <a:lnTo>
                    <a:pt x="1967" y="1206"/>
                  </a:lnTo>
                  <a:lnTo>
                    <a:pt x="1959" y="1215"/>
                  </a:lnTo>
                  <a:lnTo>
                    <a:pt x="1950" y="1225"/>
                  </a:lnTo>
                  <a:lnTo>
                    <a:pt x="1941" y="1235"/>
                  </a:lnTo>
                  <a:lnTo>
                    <a:pt x="1933" y="1245"/>
                  </a:lnTo>
                  <a:lnTo>
                    <a:pt x="1926" y="1256"/>
                  </a:lnTo>
                  <a:lnTo>
                    <a:pt x="1924" y="1256"/>
                  </a:lnTo>
                  <a:lnTo>
                    <a:pt x="1924" y="1176"/>
                  </a:lnTo>
                  <a:lnTo>
                    <a:pt x="1754" y="1176"/>
                  </a:lnTo>
                  <a:lnTo>
                    <a:pt x="1754" y="1707"/>
                  </a:lnTo>
                  <a:lnTo>
                    <a:pt x="1927" y="1707"/>
                  </a:lnTo>
                  <a:lnTo>
                    <a:pt x="1927" y="1441"/>
                  </a:lnTo>
                  <a:lnTo>
                    <a:pt x="1927" y="1424"/>
                  </a:lnTo>
                  <a:lnTo>
                    <a:pt x="1930" y="1408"/>
                  </a:lnTo>
                  <a:lnTo>
                    <a:pt x="1931" y="1401"/>
                  </a:lnTo>
                  <a:lnTo>
                    <a:pt x="1932" y="1394"/>
                  </a:lnTo>
                  <a:lnTo>
                    <a:pt x="1933" y="1387"/>
                  </a:lnTo>
                  <a:lnTo>
                    <a:pt x="1935" y="1381"/>
                  </a:lnTo>
                  <a:lnTo>
                    <a:pt x="1940" y="1368"/>
                  </a:lnTo>
                  <a:lnTo>
                    <a:pt x="1944" y="1358"/>
                  </a:lnTo>
                  <a:lnTo>
                    <a:pt x="1947" y="1354"/>
                  </a:lnTo>
                  <a:lnTo>
                    <a:pt x="1950" y="1349"/>
                  </a:lnTo>
                  <a:lnTo>
                    <a:pt x="1953" y="1345"/>
                  </a:lnTo>
                  <a:lnTo>
                    <a:pt x="1956" y="1341"/>
                  </a:lnTo>
                  <a:lnTo>
                    <a:pt x="1964" y="1334"/>
                  </a:lnTo>
                  <a:lnTo>
                    <a:pt x="1972" y="1327"/>
                  </a:lnTo>
                  <a:lnTo>
                    <a:pt x="1980" y="1323"/>
                  </a:lnTo>
                  <a:lnTo>
                    <a:pt x="1989" y="1318"/>
                  </a:lnTo>
                  <a:lnTo>
                    <a:pt x="1998" y="1315"/>
                  </a:lnTo>
                  <a:lnTo>
                    <a:pt x="2008" y="1314"/>
                  </a:lnTo>
                  <a:lnTo>
                    <a:pt x="2018" y="1312"/>
                  </a:lnTo>
                  <a:lnTo>
                    <a:pt x="2030" y="1312"/>
                  </a:lnTo>
                  <a:lnTo>
                    <a:pt x="2041" y="1312"/>
                  </a:lnTo>
                  <a:lnTo>
                    <a:pt x="2052" y="1314"/>
                  </a:lnTo>
                  <a:lnTo>
                    <a:pt x="2063" y="1315"/>
                  </a:lnTo>
                  <a:lnTo>
                    <a:pt x="2072" y="1318"/>
                  </a:lnTo>
                  <a:lnTo>
                    <a:pt x="2081" y="1323"/>
                  </a:lnTo>
                  <a:lnTo>
                    <a:pt x="2088" y="1327"/>
                  </a:lnTo>
                  <a:lnTo>
                    <a:pt x="2096" y="1333"/>
                  </a:lnTo>
                  <a:lnTo>
                    <a:pt x="2100" y="1336"/>
                  </a:lnTo>
                  <a:lnTo>
                    <a:pt x="2103" y="1339"/>
                  </a:lnTo>
                  <a:lnTo>
                    <a:pt x="2108" y="1347"/>
                  </a:lnTo>
                  <a:lnTo>
                    <a:pt x="2113" y="1355"/>
                  </a:lnTo>
                  <a:lnTo>
                    <a:pt x="2115" y="1361"/>
                  </a:lnTo>
                  <a:lnTo>
                    <a:pt x="2117" y="1365"/>
                  </a:lnTo>
                  <a:lnTo>
                    <a:pt x="2121" y="1375"/>
                  </a:lnTo>
                  <a:lnTo>
                    <a:pt x="2124" y="1386"/>
                  </a:lnTo>
                  <a:lnTo>
                    <a:pt x="2125" y="1399"/>
                  </a:lnTo>
                  <a:lnTo>
                    <a:pt x="2127" y="1413"/>
                  </a:lnTo>
                  <a:lnTo>
                    <a:pt x="2127" y="1426"/>
                  </a:lnTo>
                  <a:lnTo>
                    <a:pt x="2127" y="1707"/>
                  </a:lnTo>
                  <a:lnTo>
                    <a:pt x="2300" y="1707"/>
                  </a:lnTo>
                  <a:lnTo>
                    <a:pt x="2300" y="1378"/>
                  </a:lnTo>
                  <a:lnTo>
                    <a:pt x="2300" y="1364"/>
                  </a:lnTo>
                  <a:lnTo>
                    <a:pt x="2298" y="1351"/>
                  </a:lnTo>
                  <a:lnTo>
                    <a:pt x="2297" y="1338"/>
                  </a:lnTo>
                  <a:lnTo>
                    <a:pt x="2296" y="1325"/>
                  </a:lnTo>
                  <a:lnTo>
                    <a:pt x="2294" y="1314"/>
                  </a:lnTo>
                  <a:lnTo>
                    <a:pt x="2291" y="1302"/>
                  </a:lnTo>
                  <a:lnTo>
                    <a:pt x="2288" y="1291"/>
                  </a:lnTo>
                  <a:lnTo>
                    <a:pt x="2285" y="1281"/>
                  </a:lnTo>
                  <a:lnTo>
                    <a:pt x="2281" y="1269"/>
                  </a:lnTo>
                  <a:lnTo>
                    <a:pt x="2277" y="1261"/>
                  </a:lnTo>
                  <a:lnTo>
                    <a:pt x="2272" y="1251"/>
                  </a:lnTo>
                  <a:lnTo>
                    <a:pt x="2267" y="1243"/>
                  </a:lnTo>
                  <a:lnTo>
                    <a:pt x="2262" y="1234"/>
                  </a:lnTo>
                  <a:lnTo>
                    <a:pt x="2256" y="1226"/>
                  </a:lnTo>
                  <a:lnTo>
                    <a:pt x="2250" y="1218"/>
                  </a:lnTo>
                  <a:lnTo>
                    <a:pt x="2244" y="1212"/>
                  </a:lnTo>
                  <a:lnTo>
                    <a:pt x="2236" y="1205"/>
                  </a:lnTo>
                  <a:lnTo>
                    <a:pt x="2230" y="1199"/>
                  </a:lnTo>
                  <a:lnTo>
                    <a:pt x="2222" y="1194"/>
                  </a:lnTo>
                  <a:lnTo>
                    <a:pt x="2214" y="1188"/>
                  </a:lnTo>
                  <a:lnTo>
                    <a:pt x="2206" y="1184"/>
                  </a:lnTo>
                  <a:lnTo>
                    <a:pt x="2198" y="1179"/>
                  </a:lnTo>
                  <a:lnTo>
                    <a:pt x="2190" y="1175"/>
                  </a:lnTo>
                  <a:lnTo>
                    <a:pt x="2181" y="1172"/>
                  </a:lnTo>
                  <a:lnTo>
                    <a:pt x="2171" y="1168"/>
                  </a:lnTo>
                  <a:lnTo>
                    <a:pt x="2162" y="1166"/>
                  </a:lnTo>
                  <a:lnTo>
                    <a:pt x="2152" y="1164"/>
                  </a:lnTo>
                  <a:lnTo>
                    <a:pt x="2142" y="1162"/>
                  </a:lnTo>
                  <a:lnTo>
                    <a:pt x="2132" y="1161"/>
                  </a:lnTo>
                  <a:lnTo>
                    <a:pt x="2121" y="1160"/>
                  </a:lnTo>
                  <a:lnTo>
                    <a:pt x="2111" y="1160"/>
                  </a:lnTo>
                  <a:lnTo>
                    <a:pt x="2100" y="1158"/>
                  </a:lnTo>
                  <a:close/>
                  <a:moveTo>
                    <a:pt x="2651" y="1954"/>
                  </a:moveTo>
                  <a:lnTo>
                    <a:pt x="2668" y="1954"/>
                  </a:lnTo>
                  <a:lnTo>
                    <a:pt x="2685" y="1953"/>
                  </a:lnTo>
                  <a:lnTo>
                    <a:pt x="2701" y="1951"/>
                  </a:lnTo>
                  <a:lnTo>
                    <a:pt x="2716" y="1950"/>
                  </a:lnTo>
                  <a:lnTo>
                    <a:pt x="2731" y="1948"/>
                  </a:lnTo>
                  <a:lnTo>
                    <a:pt x="2745" y="1946"/>
                  </a:lnTo>
                  <a:lnTo>
                    <a:pt x="2759" y="1943"/>
                  </a:lnTo>
                  <a:lnTo>
                    <a:pt x="2773" y="1939"/>
                  </a:lnTo>
                  <a:lnTo>
                    <a:pt x="2779" y="1937"/>
                  </a:lnTo>
                  <a:lnTo>
                    <a:pt x="2786" y="1935"/>
                  </a:lnTo>
                  <a:lnTo>
                    <a:pt x="2798" y="1930"/>
                  </a:lnTo>
                  <a:lnTo>
                    <a:pt x="2810" y="1925"/>
                  </a:lnTo>
                  <a:lnTo>
                    <a:pt x="2822" y="1919"/>
                  </a:lnTo>
                  <a:lnTo>
                    <a:pt x="2833" y="1914"/>
                  </a:lnTo>
                  <a:lnTo>
                    <a:pt x="2844" y="1907"/>
                  </a:lnTo>
                  <a:lnTo>
                    <a:pt x="2853" y="1900"/>
                  </a:lnTo>
                  <a:lnTo>
                    <a:pt x="2863" y="1893"/>
                  </a:lnTo>
                  <a:lnTo>
                    <a:pt x="2872" y="1885"/>
                  </a:lnTo>
                  <a:lnTo>
                    <a:pt x="2879" y="1877"/>
                  </a:lnTo>
                  <a:lnTo>
                    <a:pt x="2887" y="1868"/>
                  </a:lnTo>
                  <a:lnTo>
                    <a:pt x="2895" y="1858"/>
                  </a:lnTo>
                  <a:lnTo>
                    <a:pt x="2902" y="1848"/>
                  </a:lnTo>
                  <a:lnTo>
                    <a:pt x="2907" y="1838"/>
                  </a:lnTo>
                  <a:lnTo>
                    <a:pt x="2913" y="1827"/>
                  </a:lnTo>
                  <a:lnTo>
                    <a:pt x="2918" y="1816"/>
                  </a:lnTo>
                  <a:lnTo>
                    <a:pt x="2923" y="1804"/>
                  </a:lnTo>
                  <a:lnTo>
                    <a:pt x="2926" y="1792"/>
                  </a:lnTo>
                  <a:lnTo>
                    <a:pt x="2929" y="1779"/>
                  </a:lnTo>
                  <a:lnTo>
                    <a:pt x="2932" y="1766"/>
                  </a:lnTo>
                  <a:lnTo>
                    <a:pt x="2934" y="1752"/>
                  </a:lnTo>
                  <a:lnTo>
                    <a:pt x="2936" y="1737"/>
                  </a:lnTo>
                  <a:lnTo>
                    <a:pt x="2937" y="1723"/>
                  </a:lnTo>
                  <a:lnTo>
                    <a:pt x="2937" y="1707"/>
                  </a:lnTo>
                  <a:lnTo>
                    <a:pt x="2937" y="1176"/>
                  </a:lnTo>
                  <a:lnTo>
                    <a:pt x="2764" y="1176"/>
                  </a:lnTo>
                  <a:lnTo>
                    <a:pt x="2764" y="1248"/>
                  </a:lnTo>
                  <a:lnTo>
                    <a:pt x="2762" y="1248"/>
                  </a:lnTo>
                  <a:lnTo>
                    <a:pt x="2755" y="1238"/>
                  </a:lnTo>
                  <a:lnTo>
                    <a:pt x="2748" y="1229"/>
                  </a:lnTo>
                  <a:lnTo>
                    <a:pt x="2741" y="1221"/>
                  </a:lnTo>
                  <a:lnTo>
                    <a:pt x="2733" y="1212"/>
                  </a:lnTo>
                  <a:lnTo>
                    <a:pt x="2724" y="1204"/>
                  </a:lnTo>
                  <a:lnTo>
                    <a:pt x="2715" y="1196"/>
                  </a:lnTo>
                  <a:lnTo>
                    <a:pt x="2709" y="1193"/>
                  </a:lnTo>
                  <a:lnTo>
                    <a:pt x="2705" y="1189"/>
                  </a:lnTo>
                  <a:lnTo>
                    <a:pt x="2694" y="1184"/>
                  </a:lnTo>
                  <a:lnTo>
                    <a:pt x="2684" y="1178"/>
                  </a:lnTo>
                  <a:lnTo>
                    <a:pt x="2672" y="1173"/>
                  </a:lnTo>
                  <a:lnTo>
                    <a:pt x="2659" y="1168"/>
                  </a:lnTo>
                  <a:lnTo>
                    <a:pt x="2646" y="1165"/>
                  </a:lnTo>
                  <a:lnTo>
                    <a:pt x="2633" y="1163"/>
                  </a:lnTo>
                  <a:lnTo>
                    <a:pt x="2618" y="1161"/>
                  </a:lnTo>
                  <a:lnTo>
                    <a:pt x="2604" y="1160"/>
                  </a:lnTo>
                  <a:lnTo>
                    <a:pt x="2587" y="1158"/>
                  </a:lnTo>
                  <a:lnTo>
                    <a:pt x="2575" y="1160"/>
                  </a:lnTo>
                  <a:lnTo>
                    <a:pt x="2562" y="1160"/>
                  </a:lnTo>
                  <a:lnTo>
                    <a:pt x="2537" y="1164"/>
                  </a:lnTo>
                  <a:lnTo>
                    <a:pt x="2525" y="1166"/>
                  </a:lnTo>
                  <a:lnTo>
                    <a:pt x="2513" y="1169"/>
                  </a:lnTo>
                  <a:lnTo>
                    <a:pt x="2502" y="1173"/>
                  </a:lnTo>
                  <a:lnTo>
                    <a:pt x="2491" y="1177"/>
                  </a:lnTo>
                  <a:lnTo>
                    <a:pt x="2479" y="1182"/>
                  </a:lnTo>
                  <a:lnTo>
                    <a:pt x="2468" y="1187"/>
                  </a:lnTo>
                  <a:lnTo>
                    <a:pt x="2457" y="1193"/>
                  </a:lnTo>
                  <a:lnTo>
                    <a:pt x="2447" y="1199"/>
                  </a:lnTo>
                  <a:lnTo>
                    <a:pt x="2437" y="1206"/>
                  </a:lnTo>
                  <a:lnTo>
                    <a:pt x="2428" y="1214"/>
                  </a:lnTo>
                  <a:lnTo>
                    <a:pt x="2419" y="1222"/>
                  </a:lnTo>
                  <a:lnTo>
                    <a:pt x="2411" y="1231"/>
                  </a:lnTo>
                  <a:lnTo>
                    <a:pt x="2402" y="1239"/>
                  </a:lnTo>
                  <a:lnTo>
                    <a:pt x="2394" y="1249"/>
                  </a:lnTo>
                  <a:lnTo>
                    <a:pt x="2386" y="1259"/>
                  </a:lnTo>
                  <a:lnTo>
                    <a:pt x="2379" y="1271"/>
                  </a:lnTo>
                  <a:lnTo>
                    <a:pt x="2373" y="1282"/>
                  </a:lnTo>
                  <a:lnTo>
                    <a:pt x="2366" y="1293"/>
                  </a:lnTo>
                  <a:lnTo>
                    <a:pt x="2361" y="1305"/>
                  </a:lnTo>
                  <a:lnTo>
                    <a:pt x="2356" y="1318"/>
                  </a:lnTo>
                  <a:lnTo>
                    <a:pt x="2352" y="1332"/>
                  </a:lnTo>
                  <a:lnTo>
                    <a:pt x="2347" y="1346"/>
                  </a:lnTo>
                  <a:lnTo>
                    <a:pt x="2346" y="1353"/>
                  </a:lnTo>
                  <a:lnTo>
                    <a:pt x="2344" y="1361"/>
                  </a:lnTo>
                  <a:lnTo>
                    <a:pt x="2342" y="1375"/>
                  </a:lnTo>
                  <a:lnTo>
                    <a:pt x="2340" y="1391"/>
                  </a:lnTo>
                  <a:lnTo>
                    <a:pt x="2337" y="1407"/>
                  </a:lnTo>
                  <a:lnTo>
                    <a:pt x="2336" y="1424"/>
                  </a:lnTo>
                  <a:lnTo>
                    <a:pt x="2336" y="1441"/>
                  </a:lnTo>
                  <a:lnTo>
                    <a:pt x="2336" y="1457"/>
                  </a:lnTo>
                  <a:lnTo>
                    <a:pt x="2337" y="1474"/>
                  </a:lnTo>
                  <a:lnTo>
                    <a:pt x="2338" y="1489"/>
                  </a:lnTo>
                  <a:lnTo>
                    <a:pt x="2341" y="1505"/>
                  </a:lnTo>
                  <a:lnTo>
                    <a:pt x="2344" y="1519"/>
                  </a:lnTo>
                  <a:lnTo>
                    <a:pt x="2347" y="1534"/>
                  </a:lnTo>
                  <a:lnTo>
                    <a:pt x="2352" y="1548"/>
                  </a:lnTo>
                  <a:lnTo>
                    <a:pt x="2356" y="1562"/>
                  </a:lnTo>
                  <a:lnTo>
                    <a:pt x="2361" y="1574"/>
                  </a:lnTo>
                  <a:lnTo>
                    <a:pt x="2366" y="1586"/>
                  </a:lnTo>
                  <a:lnTo>
                    <a:pt x="2372" y="1597"/>
                  </a:lnTo>
                  <a:lnTo>
                    <a:pt x="2378" y="1608"/>
                  </a:lnTo>
                  <a:lnTo>
                    <a:pt x="2386" y="1619"/>
                  </a:lnTo>
                  <a:lnTo>
                    <a:pt x="2393" y="1629"/>
                  </a:lnTo>
                  <a:lnTo>
                    <a:pt x="2401" y="1638"/>
                  </a:lnTo>
                  <a:lnTo>
                    <a:pt x="2409" y="1647"/>
                  </a:lnTo>
                  <a:lnTo>
                    <a:pt x="2418" y="1656"/>
                  </a:lnTo>
                  <a:lnTo>
                    <a:pt x="2427" y="1664"/>
                  </a:lnTo>
                  <a:lnTo>
                    <a:pt x="2436" y="1670"/>
                  </a:lnTo>
                  <a:lnTo>
                    <a:pt x="2446" y="1677"/>
                  </a:lnTo>
                  <a:lnTo>
                    <a:pt x="2456" y="1684"/>
                  </a:lnTo>
                  <a:lnTo>
                    <a:pt x="2467" y="1689"/>
                  </a:lnTo>
                  <a:lnTo>
                    <a:pt x="2477" y="1695"/>
                  </a:lnTo>
                  <a:lnTo>
                    <a:pt x="2488" y="1699"/>
                  </a:lnTo>
                  <a:lnTo>
                    <a:pt x="2501" y="1703"/>
                  </a:lnTo>
                  <a:lnTo>
                    <a:pt x="2512" y="1706"/>
                  </a:lnTo>
                  <a:lnTo>
                    <a:pt x="2524" y="1709"/>
                  </a:lnTo>
                  <a:lnTo>
                    <a:pt x="2536" y="1712"/>
                  </a:lnTo>
                  <a:lnTo>
                    <a:pt x="2548" y="1714"/>
                  </a:lnTo>
                  <a:lnTo>
                    <a:pt x="2561" y="1715"/>
                  </a:lnTo>
                  <a:lnTo>
                    <a:pt x="2574" y="1716"/>
                  </a:lnTo>
                  <a:lnTo>
                    <a:pt x="2586" y="1716"/>
                  </a:lnTo>
                  <a:lnTo>
                    <a:pt x="2603" y="1716"/>
                  </a:lnTo>
                  <a:lnTo>
                    <a:pt x="2618" y="1715"/>
                  </a:lnTo>
                  <a:lnTo>
                    <a:pt x="2634" y="1713"/>
                  </a:lnTo>
                  <a:lnTo>
                    <a:pt x="2647" y="1709"/>
                  </a:lnTo>
                  <a:lnTo>
                    <a:pt x="2661" y="1706"/>
                  </a:lnTo>
                  <a:lnTo>
                    <a:pt x="2673" y="1702"/>
                  </a:lnTo>
                  <a:lnTo>
                    <a:pt x="2685" y="1697"/>
                  </a:lnTo>
                  <a:lnTo>
                    <a:pt x="2696" y="1692"/>
                  </a:lnTo>
                  <a:lnTo>
                    <a:pt x="2706" y="1686"/>
                  </a:lnTo>
                  <a:lnTo>
                    <a:pt x="2716" y="1679"/>
                  </a:lnTo>
                  <a:lnTo>
                    <a:pt x="2725" y="1673"/>
                  </a:lnTo>
                  <a:lnTo>
                    <a:pt x="2734" y="1666"/>
                  </a:lnTo>
                  <a:lnTo>
                    <a:pt x="2742" y="1658"/>
                  </a:lnTo>
                  <a:lnTo>
                    <a:pt x="2748" y="1652"/>
                  </a:lnTo>
                  <a:lnTo>
                    <a:pt x="2755" y="1644"/>
                  </a:lnTo>
                  <a:lnTo>
                    <a:pt x="2762" y="1636"/>
                  </a:lnTo>
                  <a:lnTo>
                    <a:pt x="2764" y="1636"/>
                  </a:lnTo>
                  <a:lnTo>
                    <a:pt x="2764" y="1670"/>
                  </a:lnTo>
                  <a:lnTo>
                    <a:pt x="2763" y="1687"/>
                  </a:lnTo>
                  <a:lnTo>
                    <a:pt x="2762" y="1703"/>
                  </a:lnTo>
                  <a:lnTo>
                    <a:pt x="2759" y="1716"/>
                  </a:lnTo>
                  <a:lnTo>
                    <a:pt x="2758" y="1723"/>
                  </a:lnTo>
                  <a:lnTo>
                    <a:pt x="2756" y="1728"/>
                  </a:lnTo>
                  <a:lnTo>
                    <a:pt x="2754" y="1734"/>
                  </a:lnTo>
                  <a:lnTo>
                    <a:pt x="2752" y="1739"/>
                  </a:lnTo>
                  <a:lnTo>
                    <a:pt x="2747" y="1749"/>
                  </a:lnTo>
                  <a:lnTo>
                    <a:pt x="2741" y="1758"/>
                  </a:lnTo>
                  <a:lnTo>
                    <a:pt x="2737" y="1763"/>
                  </a:lnTo>
                  <a:lnTo>
                    <a:pt x="2734" y="1766"/>
                  </a:lnTo>
                  <a:lnTo>
                    <a:pt x="2725" y="1773"/>
                  </a:lnTo>
                  <a:lnTo>
                    <a:pt x="2716" y="1778"/>
                  </a:lnTo>
                  <a:lnTo>
                    <a:pt x="2706" y="1783"/>
                  </a:lnTo>
                  <a:lnTo>
                    <a:pt x="2695" y="1786"/>
                  </a:lnTo>
                  <a:lnTo>
                    <a:pt x="2683" y="1789"/>
                  </a:lnTo>
                  <a:lnTo>
                    <a:pt x="2668" y="1790"/>
                  </a:lnTo>
                  <a:lnTo>
                    <a:pt x="2654" y="1792"/>
                  </a:lnTo>
                  <a:lnTo>
                    <a:pt x="2638" y="1792"/>
                  </a:lnTo>
                  <a:lnTo>
                    <a:pt x="2623" y="1792"/>
                  </a:lnTo>
                  <a:lnTo>
                    <a:pt x="2605" y="1790"/>
                  </a:lnTo>
                  <a:lnTo>
                    <a:pt x="2585" y="1789"/>
                  </a:lnTo>
                  <a:lnTo>
                    <a:pt x="2563" y="1787"/>
                  </a:lnTo>
                  <a:lnTo>
                    <a:pt x="2538" y="1783"/>
                  </a:lnTo>
                  <a:lnTo>
                    <a:pt x="2513" y="1778"/>
                  </a:lnTo>
                  <a:lnTo>
                    <a:pt x="2484" y="1773"/>
                  </a:lnTo>
                  <a:lnTo>
                    <a:pt x="2452" y="1766"/>
                  </a:lnTo>
                  <a:lnTo>
                    <a:pt x="2424" y="1928"/>
                  </a:lnTo>
                  <a:lnTo>
                    <a:pt x="2456" y="1934"/>
                  </a:lnTo>
                  <a:lnTo>
                    <a:pt x="2489" y="1939"/>
                  </a:lnTo>
                  <a:lnTo>
                    <a:pt x="2521" y="1944"/>
                  </a:lnTo>
                  <a:lnTo>
                    <a:pt x="2551" y="1948"/>
                  </a:lnTo>
                  <a:lnTo>
                    <a:pt x="2578" y="1950"/>
                  </a:lnTo>
                  <a:lnTo>
                    <a:pt x="2605" y="1953"/>
                  </a:lnTo>
                  <a:lnTo>
                    <a:pt x="2629" y="1954"/>
                  </a:lnTo>
                  <a:lnTo>
                    <a:pt x="2651" y="1954"/>
                  </a:lnTo>
                  <a:close/>
                  <a:moveTo>
                    <a:pt x="2636" y="1566"/>
                  </a:moveTo>
                  <a:lnTo>
                    <a:pt x="2623" y="1565"/>
                  </a:lnTo>
                  <a:lnTo>
                    <a:pt x="2617" y="1565"/>
                  </a:lnTo>
                  <a:lnTo>
                    <a:pt x="2611" y="1564"/>
                  </a:lnTo>
                  <a:lnTo>
                    <a:pt x="2599" y="1560"/>
                  </a:lnTo>
                  <a:lnTo>
                    <a:pt x="2594" y="1559"/>
                  </a:lnTo>
                  <a:lnTo>
                    <a:pt x="2588" y="1557"/>
                  </a:lnTo>
                  <a:lnTo>
                    <a:pt x="2577" y="1552"/>
                  </a:lnTo>
                  <a:lnTo>
                    <a:pt x="2567" y="1546"/>
                  </a:lnTo>
                  <a:lnTo>
                    <a:pt x="2563" y="1543"/>
                  </a:lnTo>
                  <a:lnTo>
                    <a:pt x="2558" y="1539"/>
                  </a:lnTo>
                  <a:lnTo>
                    <a:pt x="2549" y="1532"/>
                  </a:lnTo>
                  <a:lnTo>
                    <a:pt x="2542" y="1524"/>
                  </a:lnTo>
                  <a:lnTo>
                    <a:pt x="2535" y="1514"/>
                  </a:lnTo>
                  <a:lnTo>
                    <a:pt x="2528" y="1504"/>
                  </a:lnTo>
                  <a:lnTo>
                    <a:pt x="2526" y="1498"/>
                  </a:lnTo>
                  <a:lnTo>
                    <a:pt x="2524" y="1493"/>
                  </a:lnTo>
                  <a:lnTo>
                    <a:pt x="2519" y="1482"/>
                  </a:lnTo>
                  <a:lnTo>
                    <a:pt x="2516" y="1468"/>
                  </a:lnTo>
                  <a:lnTo>
                    <a:pt x="2515" y="1462"/>
                  </a:lnTo>
                  <a:lnTo>
                    <a:pt x="2515" y="1455"/>
                  </a:lnTo>
                  <a:lnTo>
                    <a:pt x="2514" y="1442"/>
                  </a:lnTo>
                  <a:lnTo>
                    <a:pt x="2515" y="1427"/>
                  </a:lnTo>
                  <a:lnTo>
                    <a:pt x="2516" y="1415"/>
                  </a:lnTo>
                  <a:lnTo>
                    <a:pt x="2518" y="1408"/>
                  </a:lnTo>
                  <a:lnTo>
                    <a:pt x="2519" y="1402"/>
                  </a:lnTo>
                  <a:lnTo>
                    <a:pt x="2524" y="1391"/>
                  </a:lnTo>
                  <a:lnTo>
                    <a:pt x="2526" y="1385"/>
                  </a:lnTo>
                  <a:lnTo>
                    <a:pt x="2528" y="1379"/>
                  </a:lnTo>
                  <a:lnTo>
                    <a:pt x="2535" y="1369"/>
                  </a:lnTo>
                  <a:lnTo>
                    <a:pt x="2542" y="1359"/>
                  </a:lnTo>
                  <a:lnTo>
                    <a:pt x="2549" y="1351"/>
                  </a:lnTo>
                  <a:lnTo>
                    <a:pt x="2554" y="1347"/>
                  </a:lnTo>
                  <a:lnTo>
                    <a:pt x="2558" y="1344"/>
                  </a:lnTo>
                  <a:lnTo>
                    <a:pt x="2563" y="1341"/>
                  </a:lnTo>
                  <a:lnTo>
                    <a:pt x="2567" y="1337"/>
                  </a:lnTo>
                  <a:lnTo>
                    <a:pt x="2577" y="1331"/>
                  </a:lnTo>
                  <a:lnTo>
                    <a:pt x="2588" y="1326"/>
                  </a:lnTo>
                  <a:lnTo>
                    <a:pt x="2599" y="1323"/>
                  </a:lnTo>
                  <a:lnTo>
                    <a:pt x="2611" y="1319"/>
                  </a:lnTo>
                  <a:lnTo>
                    <a:pt x="2617" y="1318"/>
                  </a:lnTo>
                  <a:lnTo>
                    <a:pt x="2623" y="1318"/>
                  </a:lnTo>
                  <a:lnTo>
                    <a:pt x="2636" y="1317"/>
                  </a:lnTo>
                  <a:lnTo>
                    <a:pt x="2649" y="1318"/>
                  </a:lnTo>
                  <a:lnTo>
                    <a:pt x="2662" y="1319"/>
                  </a:lnTo>
                  <a:lnTo>
                    <a:pt x="2674" y="1323"/>
                  </a:lnTo>
                  <a:lnTo>
                    <a:pt x="2679" y="1324"/>
                  </a:lnTo>
                  <a:lnTo>
                    <a:pt x="2685" y="1326"/>
                  </a:lnTo>
                  <a:lnTo>
                    <a:pt x="2696" y="1331"/>
                  </a:lnTo>
                  <a:lnTo>
                    <a:pt x="2701" y="1334"/>
                  </a:lnTo>
                  <a:lnTo>
                    <a:pt x="2706" y="1337"/>
                  </a:lnTo>
                  <a:lnTo>
                    <a:pt x="2711" y="1341"/>
                  </a:lnTo>
                  <a:lnTo>
                    <a:pt x="2715" y="1344"/>
                  </a:lnTo>
                  <a:lnTo>
                    <a:pt x="2724" y="1351"/>
                  </a:lnTo>
                  <a:lnTo>
                    <a:pt x="2732" y="1359"/>
                  </a:lnTo>
                  <a:lnTo>
                    <a:pt x="2738" y="1369"/>
                  </a:lnTo>
                  <a:lnTo>
                    <a:pt x="2745" y="1379"/>
                  </a:lnTo>
                  <a:lnTo>
                    <a:pt x="2747" y="1385"/>
                  </a:lnTo>
                  <a:lnTo>
                    <a:pt x="2749" y="1391"/>
                  </a:lnTo>
                  <a:lnTo>
                    <a:pt x="2754" y="1402"/>
                  </a:lnTo>
                  <a:lnTo>
                    <a:pt x="2756" y="1415"/>
                  </a:lnTo>
                  <a:lnTo>
                    <a:pt x="2757" y="1421"/>
                  </a:lnTo>
                  <a:lnTo>
                    <a:pt x="2758" y="1427"/>
                  </a:lnTo>
                  <a:lnTo>
                    <a:pt x="2759" y="1442"/>
                  </a:lnTo>
                  <a:lnTo>
                    <a:pt x="2758" y="1455"/>
                  </a:lnTo>
                  <a:lnTo>
                    <a:pt x="2756" y="1468"/>
                  </a:lnTo>
                  <a:lnTo>
                    <a:pt x="2755" y="1475"/>
                  </a:lnTo>
                  <a:lnTo>
                    <a:pt x="2754" y="1482"/>
                  </a:lnTo>
                  <a:lnTo>
                    <a:pt x="2749" y="1493"/>
                  </a:lnTo>
                  <a:lnTo>
                    <a:pt x="2747" y="1498"/>
                  </a:lnTo>
                  <a:lnTo>
                    <a:pt x="2745" y="1504"/>
                  </a:lnTo>
                  <a:lnTo>
                    <a:pt x="2738" y="1514"/>
                  </a:lnTo>
                  <a:lnTo>
                    <a:pt x="2732" y="1524"/>
                  </a:lnTo>
                  <a:lnTo>
                    <a:pt x="2724" y="1532"/>
                  </a:lnTo>
                  <a:lnTo>
                    <a:pt x="2719" y="1536"/>
                  </a:lnTo>
                  <a:lnTo>
                    <a:pt x="2715" y="1539"/>
                  </a:lnTo>
                  <a:lnTo>
                    <a:pt x="2711" y="1543"/>
                  </a:lnTo>
                  <a:lnTo>
                    <a:pt x="2706" y="1546"/>
                  </a:lnTo>
                  <a:lnTo>
                    <a:pt x="2696" y="1552"/>
                  </a:lnTo>
                  <a:lnTo>
                    <a:pt x="2685" y="1557"/>
                  </a:lnTo>
                  <a:lnTo>
                    <a:pt x="2674" y="1560"/>
                  </a:lnTo>
                  <a:lnTo>
                    <a:pt x="2662" y="1564"/>
                  </a:lnTo>
                  <a:lnTo>
                    <a:pt x="2649" y="1565"/>
                  </a:lnTo>
                  <a:lnTo>
                    <a:pt x="2636" y="1566"/>
                  </a:lnTo>
                  <a:close/>
                  <a:moveTo>
                    <a:pt x="3254" y="1160"/>
                  </a:moveTo>
                  <a:lnTo>
                    <a:pt x="3239" y="1161"/>
                  </a:lnTo>
                  <a:lnTo>
                    <a:pt x="3224" y="1162"/>
                  </a:lnTo>
                  <a:lnTo>
                    <a:pt x="3209" y="1163"/>
                  </a:lnTo>
                  <a:lnTo>
                    <a:pt x="3195" y="1165"/>
                  </a:lnTo>
                  <a:lnTo>
                    <a:pt x="3181" y="1167"/>
                  </a:lnTo>
                  <a:lnTo>
                    <a:pt x="3167" y="1171"/>
                  </a:lnTo>
                  <a:lnTo>
                    <a:pt x="3154" y="1175"/>
                  </a:lnTo>
                  <a:lnTo>
                    <a:pt x="3141" y="1179"/>
                  </a:lnTo>
                  <a:lnTo>
                    <a:pt x="3129" y="1184"/>
                  </a:lnTo>
                  <a:lnTo>
                    <a:pt x="3117" y="1189"/>
                  </a:lnTo>
                  <a:lnTo>
                    <a:pt x="3105" y="1196"/>
                  </a:lnTo>
                  <a:lnTo>
                    <a:pt x="3094" y="1203"/>
                  </a:lnTo>
                  <a:lnTo>
                    <a:pt x="3083" y="1209"/>
                  </a:lnTo>
                  <a:lnTo>
                    <a:pt x="3073" y="1217"/>
                  </a:lnTo>
                  <a:lnTo>
                    <a:pt x="3063" y="1226"/>
                  </a:lnTo>
                  <a:lnTo>
                    <a:pt x="3053" y="1235"/>
                  </a:lnTo>
                  <a:lnTo>
                    <a:pt x="3044" y="1244"/>
                  </a:lnTo>
                  <a:lnTo>
                    <a:pt x="3035" y="1254"/>
                  </a:lnTo>
                  <a:lnTo>
                    <a:pt x="3027" y="1264"/>
                  </a:lnTo>
                  <a:lnTo>
                    <a:pt x="3019" y="1275"/>
                  </a:lnTo>
                  <a:lnTo>
                    <a:pt x="3013" y="1287"/>
                  </a:lnTo>
                  <a:lnTo>
                    <a:pt x="3006" y="1298"/>
                  </a:lnTo>
                  <a:lnTo>
                    <a:pt x="3003" y="1305"/>
                  </a:lnTo>
                  <a:lnTo>
                    <a:pt x="2999" y="1311"/>
                  </a:lnTo>
                  <a:lnTo>
                    <a:pt x="2995" y="1324"/>
                  </a:lnTo>
                  <a:lnTo>
                    <a:pt x="2989" y="1337"/>
                  </a:lnTo>
                  <a:lnTo>
                    <a:pt x="2986" y="1352"/>
                  </a:lnTo>
                  <a:lnTo>
                    <a:pt x="2982" y="1365"/>
                  </a:lnTo>
                  <a:lnTo>
                    <a:pt x="2979" y="1381"/>
                  </a:lnTo>
                  <a:lnTo>
                    <a:pt x="2977" y="1395"/>
                  </a:lnTo>
                  <a:lnTo>
                    <a:pt x="2975" y="1412"/>
                  </a:lnTo>
                  <a:lnTo>
                    <a:pt x="2974" y="1427"/>
                  </a:lnTo>
                  <a:lnTo>
                    <a:pt x="2974" y="1444"/>
                  </a:lnTo>
                  <a:lnTo>
                    <a:pt x="2974" y="1459"/>
                  </a:lnTo>
                  <a:lnTo>
                    <a:pt x="2975" y="1475"/>
                  </a:lnTo>
                  <a:lnTo>
                    <a:pt x="2977" y="1489"/>
                  </a:lnTo>
                  <a:lnTo>
                    <a:pt x="2979" y="1505"/>
                  </a:lnTo>
                  <a:lnTo>
                    <a:pt x="2982" y="1518"/>
                  </a:lnTo>
                  <a:lnTo>
                    <a:pt x="2986" y="1533"/>
                  </a:lnTo>
                  <a:lnTo>
                    <a:pt x="2990" y="1546"/>
                  </a:lnTo>
                  <a:lnTo>
                    <a:pt x="2993" y="1553"/>
                  </a:lnTo>
                  <a:lnTo>
                    <a:pt x="2995" y="1559"/>
                  </a:lnTo>
                  <a:lnTo>
                    <a:pt x="3000" y="1572"/>
                  </a:lnTo>
                  <a:lnTo>
                    <a:pt x="3006" y="1584"/>
                  </a:lnTo>
                  <a:lnTo>
                    <a:pt x="3013" y="1596"/>
                  </a:lnTo>
                  <a:lnTo>
                    <a:pt x="3020" y="1607"/>
                  </a:lnTo>
                  <a:lnTo>
                    <a:pt x="3028" y="1617"/>
                  </a:lnTo>
                  <a:lnTo>
                    <a:pt x="3037" y="1628"/>
                  </a:lnTo>
                  <a:lnTo>
                    <a:pt x="3046" y="1638"/>
                  </a:lnTo>
                  <a:lnTo>
                    <a:pt x="3055" y="1647"/>
                  </a:lnTo>
                  <a:lnTo>
                    <a:pt x="3065" y="1656"/>
                  </a:lnTo>
                  <a:lnTo>
                    <a:pt x="3076" y="1665"/>
                  </a:lnTo>
                  <a:lnTo>
                    <a:pt x="3086" y="1673"/>
                  </a:lnTo>
                  <a:lnTo>
                    <a:pt x="3098" y="1680"/>
                  </a:lnTo>
                  <a:lnTo>
                    <a:pt x="3110" y="1687"/>
                  </a:lnTo>
                  <a:lnTo>
                    <a:pt x="3123" y="1693"/>
                  </a:lnTo>
                  <a:lnTo>
                    <a:pt x="3135" y="1699"/>
                  </a:lnTo>
                  <a:lnTo>
                    <a:pt x="3148" y="1704"/>
                  </a:lnTo>
                  <a:lnTo>
                    <a:pt x="3163" y="1709"/>
                  </a:lnTo>
                  <a:lnTo>
                    <a:pt x="3177" y="1713"/>
                  </a:lnTo>
                  <a:lnTo>
                    <a:pt x="3191" y="1716"/>
                  </a:lnTo>
                  <a:lnTo>
                    <a:pt x="3206" y="1719"/>
                  </a:lnTo>
                  <a:lnTo>
                    <a:pt x="3221" y="1722"/>
                  </a:lnTo>
                  <a:lnTo>
                    <a:pt x="3237" y="1723"/>
                  </a:lnTo>
                  <a:lnTo>
                    <a:pt x="3254" y="1724"/>
                  </a:lnTo>
                  <a:lnTo>
                    <a:pt x="3270" y="1724"/>
                  </a:lnTo>
                  <a:lnTo>
                    <a:pt x="3287" y="1724"/>
                  </a:lnTo>
                  <a:lnTo>
                    <a:pt x="3304" y="1723"/>
                  </a:lnTo>
                  <a:lnTo>
                    <a:pt x="3319" y="1722"/>
                  </a:lnTo>
                  <a:lnTo>
                    <a:pt x="3335" y="1719"/>
                  </a:lnTo>
                  <a:lnTo>
                    <a:pt x="3350" y="1717"/>
                  </a:lnTo>
                  <a:lnTo>
                    <a:pt x="3365" y="1714"/>
                  </a:lnTo>
                  <a:lnTo>
                    <a:pt x="3379" y="1710"/>
                  </a:lnTo>
                  <a:lnTo>
                    <a:pt x="3393" y="1706"/>
                  </a:lnTo>
                  <a:lnTo>
                    <a:pt x="3406" y="1702"/>
                  </a:lnTo>
                  <a:lnTo>
                    <a:pt x="3419" y="1697"/>
                  </a:lnTo>
                  <a:lnTo>
                    <a:pt x="3445" y="1686"/>
                  </a:lnTo>
                  <a:lnTo>
                    <a:pt x="3456" y="1680"/>
                  </a:lnTo>
                  <a:lnTo>
                    <a:pt x="3468" y="1675"/>
                  </a:lnTo>
                  <a:lnTo>
                    <a:pt x="3489" y="1663"/>
                  </a:lnTo>
                  <a:lnTo>
                    <a:pt x="3426" y="1532"/>
                  </a:lnTo>
                  <a:lnTo>
                    <a:pt x="3413" y="1539"/>
                  </a:lnTo>
                  <a:lnTo>
                    <a:pt x="3397" y="1548"/>
                  </a:lnTo>
                  <a:lnTo>
                    <a:pt x="3380" y="1556"/>
                  </a:lnTo>
                  <a:lnTo>
                    <a:pt x="3361" y="1564"/>
                  </a:lnTo>
                  <a:lnTo>
                    <a:pt x="3340" y="1570"/>
                  </a:lnTo>
                  <a:lnTo>
                    <a:pt x="3330" y="1573"/>
                  </a:lnTo>
                  <a:lnTo>
                    <a:pt x="3319" y="1575"/>
                  </a:lnTo>
                  <a:lnTo>
                    <a:pt x="3308" y="1577"/>
                  </a:lnTo>
                  <a:lnTo>
                    <a:pt x="3296" y="1578"/>
                  </a:lnTo>
                  <a:lnTo>
                    <a:pt x="3285" y="1579"/>
                  </a:lnTo>
                  <a:lnTo>
                    <a:pt x="3273" y="1579"/>
                  </a:lnTo>
                  <a:lnTo>
                    <a:pt x="3259" y="1579"/>
                  </a:lnTo>
                  <a:lnTo>
                    <a:pt x="3247" y="1578"/>
                  </a:lnTo>
                  <a:lnTo>
                    <a:pt x="3235" y="1576"/>
                  </a:lnTo>
                  <a:lnTo>
                    <a:pt x="3223" y="1574"/>
                  </a:lnTo>
                  <a:lnTo>
                    <a:pt x="3217" y="1573"/>
                  </a:lnTo>
                  <a:lnTo>
                    <a:pt x="3211" y="1570"/>
                  </a:lnTo>
                  <a:lnTo>
                    <a:pt x="3201" y="1566"/>
                  </a:lnTo>
                  <a:lnTo>
                    <a:pt x="3191" y="1562"/>
                  </a:lnTo>
                  <a:lnTo>
                    <a:pt x="3183" y="1556"/>
                  </a:lnTo>
                  <a:lnTo>
                    <a:pt x="3174" y="1549"/>
                  </a:lnTo>
                  <a:lnTo>
                    <a:pt x="3166" y="1543"/>
                  </a:lnTo>
                  <a:lnTo>
                    <a:pt x="3159" y="1535"/>
                  </a:lnTo>
                  <a:lnTo>
                    <a:pt x="3153" y="1526"/>
                  </a:lnTo>
                  <a:lnTo>
                    <a:pt x="3147" y="1516"/>
                  </a:lnTo>
                  <a:lnTo>
                    <a:pt x="3143" y="1506"/>
                  </a:lnTo>
                  <a:lnTo>
                    <a:pt x="3139" y="1495"/>
                  </a:lnTo>
                  <a:lnTo>
                    <a:pt x="3138" y="1489"/>
                  </a:lnTo>
                  <a:lnTo>
                    <a:pt x="3137" y="1483"/>
                  </a:lnTo>
                  <a:lnTo>
                    <a:pt x="3517" y="1483"/>
                  </a:lnTo>
                  <a:lnTo>
                    <a:pt x="3517" y="1444"/>
                  </a:lnTo>
                  <a:lnTo>
                    <a:pt x="3517" y="1426"/>
                  </a:lnTo>
                  <a:lnTo>
                    <a:pt x="3516" y="1409"/>
                  </a:lnTo>
                  <a:lnTo>
                    <a:pt x="3515" y="1393"/>
                  </a:lnTo>
                  <a:lnTo>
                    <a:pt x="3512" y="1376"/>
                  </a:lnTo>
                  <a:lnTo>
                    <a:pt x="3509" y="1362"/>
                  </a:lnTo>
                  <a:lnTo>
                    <a:pt x="3508" y="1354"/>
                  </a:lnTo>
                  <a:lnTo>
                    <a:pt x="3507" y="1346"/>
                  </a:lnTo>
                  <a:lnTo>
                    <a:pt x="3502" y="1332"/>
                  </a:lnTo>
                  <a:lnTo>
                    <a:pt x="3498" y="1318"/>
                  </a:lnTo>
                  <a:lnTo>
                    <a:pt x="3494" y="1305"/>
                  </a:lnTo>
                  <a:lnTo>
                    <a:pt x="3488" y="1293"/>
                  </a:lnTo>
                  <a:lnTo>
                    <a:pt x="3483" y="1281"/>
                  </a:lnTo>
                  <a:lnTo>
                    <a:pt x="3476" y="1269"/>
                  </a:lnTo>
                  <a:lnTo>
                    <a:pt x="3469" y="1259"/>
                  </a:lnTo>
                  <a:lnTo>
                    <a:pt x="3461" y="1248"/>
                  </a:lnTo>
                  <a:lnTo>
                    <a:pt x="3454" y="1239"/>
                  </a:lnTo>
                  <a:lnTo>
                    <a:pt x="3446" y="1229"/>
                  </a:lnTo>
                  <a:lnTo>
                    <a:pt x="3437" y="1222"/>
                  </a:lnTo>
                  <a:lnTo>
                    <a:pt x="3427" y="1214"/>
                  </a:lnTo>
                  <a:lnTo>
                    <a:pt x="3418" y="1206"/>
                  </a:lnTo>
                  <a:lnTo>
                    <a:pt x="3407" y="1199"/>
                  </a:lnTo>
                  <a:lnTo>
                    <a:pt x="3397" y="1193"/>
                  </a:lnTo>
                  <a:lnTo>
                    <a:pt x="3386" y="1187"/>
                  </a:lnTo>
                  <a:lnTo>
                    <a:pt x="3375" y="1182"/>
                  </a:lnTo>
                  <a:lnTo>
                    <a:pt x="3363" y="1177"/>
                  </a:lnTo>
                  <a:lnTo>
                    <a:pt x="3350" y="1173"/>
                  </a:lnTo>
                  <a:lnTo>
                    <a:pt x="3337" y="1169"/>
                  </a:lnTo>
                  <a:lnTo>
                    <a:pt x="3325" y="1167"/>
                  </a:lnTo>
                  <a:lnTo>
                    <a:pt x="3311" y="1164"/>
                  </a:lnTo>
                  <a:lnTo>
                    <a:pt x="3297" y="1163"/>
                  </a:lnTo>
                  <a:lnTo>
                    <a:pt x="3284" y="1161"/>
                  </a:lnTo>
                  <a:lnTo>
                    <a:pt x="3269" y="1161"/>
                  </a:lnTo>
                  <a:lnTo>
                    <a:pt x="3254" y="1160"/>
                  </a:lnTo>
                  <a:close/>
                  <a:moveTo>
                    <a:pt x="3248" y="1283"/>
                  </a:moveTo>
                  <a:lnTo>
                    <a:pt x="3258" y="1284"/>
                  </a:lnTo>
                  <a:lnTo>
                    <a:pt x="3268" y="1285"/>
                  </a:lnTo>
                  <a:lnTo>
                    <a:pt x="3278" y="1287"/>
                  </a:lnTo>
                  <a:lnTo>
                    <a:pt x="3287" y="1289"/>
                  </a:lnTo>
                  <a:lnTo>
                    <a:pt x="3296" y="1293"/>
                  </a:lnTo>
                  <a:lnTo>
                    <a:pt x="3305" y="1297"/>
                  </a:lnTo>
                  <a:lnTo>
                    <a:pt x="3311" y="1303"/>
                  </a:lnTo>
                  <a:lnTo>
                    <a:pt x="3319" y="1308"/>
                  </a:lnTo>
                  <a:lnTo>
                    <a:pt x="3323" y="1312"/>
                  </a:lnTo>
                  <a:lnTo>
                    <a:pt x="3326" y="1315"/>
                  </a:lnTo>
                  <a:lnTo>
                    <a:pt x="3331" y="1323"/>
                  </a:lnTo>
                  <a:lnTo>
                    <a:pt x="3336" y="1331"/>
                  </a:lnTo>
                  <a:lnTo>
                    <a:pt x="3340" y="1339"/>
                  </a:lnTo>
                  <a:lnTo>
                    <a:pt x="3344" y="1348"/>
                  </a:lnTo>
                  <a:lnTo>
                    <a:pt x="3347" y="1358"/>
                  </a:lnTo>
                  <a:lnTo>
                    <a:pt x="3348" y="1364"/>
                  </a:lnTo>
                  <a:lnTo>
                    <a:pt x="3348" y="1369"/>
                  </a:lnTo>
                  <a:lnTo>
                    <a:pt x="3349" y="1375"/>
                  </a:lnTo>
                  <a:lnTo>
                    <a:pt x="3349" y="1381"/>
                  </a:lnTo>
                  <a:lnTo>
                    <a:pt x="3138" y="1381"/>
                  </a:lnTo>
                  <a:lnTo>
                    <a:pt x="3139" y="1368"/>
                  </a:lnTo>
                  <a:lnTo>
                    <a:pt x="3143" y="1357"/>
                  </a:lnTo>
                  <a:lnTo>
                    <a:pt x="3146" y="1346"/>
                  </a:lnTo>
                  <a:lnTo>
                    <a:pt x="3150" y="1336"/>
                  </a:lnTo>
                  <a:lnTo>
                    <a:pt x="3153" y="1332"/>
                  </a:lnTo>
                  <a:lnTo>
                    <a:pt x="3155" y="1327"/>
                  </a:lnTo>
                  <a:lnTo>
                    <a:pt x="3160" y="1319"/>
                  </a:lnTo>
                  <a:lnTo>
                    <a:pt x="3167" y="1313"/>
                  </a:lnTo>
                  <a:lnTo>
                    <a:pt x="3174" y="1306"/>
                  </a:lnTo>
                  <a:lnTo>
                    <a:pt x="3181" y="1301"/>
                  </a:lnTo>
                  <a:lnTo>
                    <a:pt x="3189" y="1296"/>
                  </a:lnTo>
                  <a:lnTo>
                    <a:pt x="3198" y="1292"/>
                  </a:lnTo>
                  <a:lnTo>
                    <a:pt x="3207" y="1288"/>
                  </a:lnTo>
                  <a:lnTo>
                    <a:pt x="3217" y="1286"/>
                  </a:lnTo>
                  <a:lnTo>
                    <a:pt x="3227" y="1284"/>
                  </a:lnTo>
                  <a:lnTo>
                    <a:pt x="3237" y="1283"/>
                  </a:lnTo>
                  <a:lnTo>
                    <a:pt x="3248" y="1283"/>
                  </a:lnTo>
                  <a:close/>
                  <a:moveTo>
                    <a:pt x="292" y="601"/>
                  </a:moveTo>
                  <a:lnTo>
                    <a:pt x="292" y="614"/>
                  </a:lnTo>
                  <a:lnTo>
                    <a:pt x="292" y="626"/>
                  </a:lnTo>
                  <a:lnTo>
                    <a:pt x="290" y="651"/>
                  </a:lnTo>
                  <a:lnTo>
                    <a:pt x="288" y="662"/>
                  </a:lnTo>
                  <a:lnTo>
                    <a:pt x="286" y="672"/>
                  </a:lnTo>
                  <a:lnTo>
                    <a:pt x="283" y="683"/>
                  </a:lnTo>
                  <a:lnTo>
                    <a:pt x="280" y="693"/>
                  </a:lnTo>
                  <a:lnTo>
                    <a:pt x="277" y="702"/>
                  </a:lnTo>
                  <a:lnTo>
                    <a:pt x="273" y="712"/>
                  </a:lnTo>
                  <a:lnTo>
                    <a:pt x="269" y="721"/>
                  </a:lnTo>
                  <a:lnTo>
                    <a:pt x="265" y="729"/>
                  </a:lnTo>
                  <a:lnTo>
                    <a:pt x="259" y="736"/>
                  </a:lnTo>
                  <a:lnTo>
                    <a:pt x="253" y="744"/>
                  </a:lnTo>
                  <a:lnTo>
                    <a:pt x="248" y="751"/>
                  </a:lnTo>
                  <a:lnTo>
                    <a:pt x="242" y="757"/>
                  </a:lnTo>
                  <a:lnTo>
                    <a:pt x="236" y="763"/>
                  </a:lnTo>
                  <a:lnTo>
                    <a:pt x="228" y="770"/>
                  </a:lnTo>
                  <a:lnTo>
                    <a:pt x="221" y="774"/>
                  </a:lnTo>
                  <a:lnTo>
                    <a:pt x="213" y="780"/>
                  </a:lnTo>
                  <a:lnTo>
                    <a:pt x="205" y="784"/>
                  </a:lnTo>
                  <a:lnTo>
                    <a:pt x="196" y="789"/>
                  </a:lnTo>
                  <a:lnTo>
                    <a:pt x="187" y="792"/>
                  </a:lnTo>
                  <a:lnTo>
                    <a:pt x="178" y="795"/>
                  </a:lnTo>
                  <a:lnTo>
                    <a:pt x="168" y="797"/>
                  </a:lnTo>
                  <a:lnTo>
                    <a:pt x="157" y="801"/>
                  </a:lnTo>
                  <a:lnTo>
                    <a:pt x="147" y="803"/>
                  </a:lnTo>
                  <a:lnTo>
                    <a:pt x="136" y="804"/>
                  </a:lnTo>
                  <a:lnTo>
                    <a:pt x="123" y="805"/>
                  </a:lnTo>
                  <a:lnTo>
                    <a:pt x="111" y="806"/>
                  </a:lnTo>
                  <a:lnTo>
                    <a:pt x="99" y="807"/>
                  </a:lnTo>
                  <a:lnTo>
                    <a:pt x="86" y="807"/>
                  </a:lnTo>
                  <a:lnTo>
                    <a:pt x="29" y="807"/>
                  </a:lnTo>
                  <a:lnTo>
                    <a:pt x="29" y="641"/>
                  </a:lnTo>
                  <a:lnTo>
                    <a:pt x="68" y="641"/>
                  </a:lnTo>
                  <a:lnTo>
                    <a:pt x="78" y="640"/>
                  </a:lnTo>
                  <a:lnTo>
                    <a:pt x="82" y="639"/>
                  </a:lnTo>
                  <a:lnTo>
                    <a:pt x="87" y="637"/>
                  </a:lnTo>
                  <a:lnTo>
                    <a:pt x="91" y="635"/>
                  </a:lnTo>
                  <a:lnTo>
                    <a:pt x="96" y="633"/>
                  </a:lnTo>
                  <a:lnTo>
                    <a:pt x="99" y="630"/>
                  </a:lnTo>
                  <a:lnTo>
                    <a:pt x="102" y="626"/>
                  </a:lnTo>
                  <a:lnTo>
                    <a:pt x="108" y="619"/>
                  </a:lnTo>
                  <a:lnTo>
                    <a:pt x="110" y="614"/>
                  </a:lnTo>
                  <a:lnTo>
                    <a:pt x="111" y="610"/>
                  </a:lnTo>
                  <a:lnTo>
                    <a:pt x="112" y="604"/>
                  </a:lnTo>
                  <a:lnTo>
                    <a:pt x="113" y="597"/>
                  </a:lnTo>
                  <a:lnTo>
                    <a:pt x="115" y="591"/>
                  </a:lnTo>
                  <a:lnTo>
                    <a:pt x="115" y="584"/>
                  </a:lnTo>
                  <a:lnTo>
                    <a:pt x="115" y="0"/>
                  </a:lnTo>
                  <a:lnTo>
                    <a:pt x="292" y="0"/>
                  </a:lnTo>
                  <a:lnTo>
                    <a:pt x="292" y="601"/>
                  </a:lnTo>
                  <a:close/>
                  <a:moveTo>
                    <a:pt x="929" y="539"/>
                  </a:moveTo>
                  <a:lnTo>
                    <a:pt x="929" y="554"/>
                  </a:lnTo>
                  <a:lnTo>
                    <a:pt x="928" y="570"/>
                  </a:lnTo>
                  <a:lnTo>
                    <a:pt x="925" y="584"/>
                  </a:lnTo>
                  <a:lnTo>
                    <a:pt x="923" y="600"/>
                  </a:lnTo>
                  <a:lnTo>
                    <a:pt x="920" y="614"/>
                  </a:lnTo>
                  <a:lnTo>
                    <a:pt x="917" y="627"/>
                  </a:lnTo>
                  <a:lnTo>
                    <a:pt x="912" y="641"/>
                  </a:lnTo>
                  <a:lnTo>
                    <a:pt x="907" y="654"/>
                  </a:lnTo>
                  <a:lnTo>
                    <a:pt x="901" y="667"/>
                  </a:lnTo>
                  <a:lnTo>
                    <a:pt x="894" y="680"/>
                  </a:lnTo>
                  <a:lnTo>
                    <a:pt x="888" y="691"/>
                  </a:lnTo>
                  <a:lnTo>
                    <a:pt x="880" y="703"/>
                  </a:lnTo>
                  <a:lnTo>
                    <a:pt x="872" y="713"/>
                  </a:lnTo>
                  <a:lnTo>
                    <a:pt x="863" y="724"/>
                  </a:lnTo>
                  <a:lnTo>
                    <a:pt x="854" y="734"/>
                  </a:lnTo>
                  <a:lnTo>
                    <a:pt x="844" y="743"/>
                  </a:lnTo>
                  <a:lnTo>
                    <a:pt x="834" y="753"/>
                  </a:lnTo>
                  <a:lnTo>
                    <a:pt x="823" y="761"/>
                  </a:lnTo>
                  <a:lnTo>
                    <a:pt x="812" y="769"/>
                  </a:lnTo>
                  <a:lnTo>
                    <a:pt x="800" y="776"/>
                  </a:lnTo>
                  <a:lnTo>
                    <a:pt x="789" y="783"/>
                  </a:lnTo>
                  <a:lnTo>
                    <a:pt x="776" y="790"/>
                  </a:lnTo>
                  <a:lnTo>
                    <a:pt x="763" y="795"/>
                  </a:lnTo>
                  <a:lnTo>
                    <a:pt x="750" y="801"/>
                  </a:lnTo>
                  <a:lnTo>
                    <a:pt x="736" y="805"/>
                  </a:lnTo>
                  <a:lnTo>
                    <a:pt x="722" y="810"/>
                  </a:lnTo>
                  <a:lnTo>
                    <a:pt x="708" y="813"/>
                  </a:lnTo>
                  <a:lnTo>
                    <a:pt x="692" y="816"/>
                  </a:lnTo>
                  <a:lnTo>
                    <a:pt x="678" y="819"/>
                  </a:lnTo>
                  <a:lnTo>
                    <a:pt x="662" y="820"/>
                  </a:lnTo>
                  <a:lnTo>
                    <a:pt x="647" y="821"/>
                  </a:lnTo>
                  <a:lnTo>
                    <a:pt x="630" y="821"/>
                  </a:lnTo>
                  <a:lnTo>
                    <a:pt x="614" y="821"/>
                  </a:lnTo>
                  <a:lnTo>
                    <a:pt x="599" y="820"/>
                  </a:lnTo>
                  <a:lnTo>
                    <a:pt x="583" y="819"/>
                  </a:lnTo>
                  <a:lnTo>
                    <a:pt x="568" y="816"/>
                  </a:lnTo>
                  <a:lnTo>
                    <a:pt x="553" y="813"/>
                  </a:lnTo>
                  <a:lnTo>
                    <a:pt x="539" y="810"/>
                  </a:lnTo>
                  <a:lnTo>
                    <a:pt x="526" y="805"/>
                  </a:lnTo>
                  <a:lnTo>
                    <a:pt x="511" y="801"/>
                  </a:lnTo>
                  <a:lnTo>
                    <a:pt x="498" y="795"/>
                  </a:lnTo>
                  <a:lnTo>
                    <a:pt x="486" y="790"/>
                  </a:lnTo>
                  <a:lnTo>
                    <a:pt x="473" y="783"/>
                  </a:lnTo>
                  <a:lnTo>
                    <a:pt x="461" y="776"/>
                  </a:lnTo>
                  <a:lnTo>
                    <a:pt x="449" y="769"/>
                  </a:lnTo>
                  <a:lnTo>
                    <a:pt x="438" y="761"/>
                  </a:lnTo>
                  <a:lnTo>
                    <a:pt x="428" y="753"/>
                  </a:lnTo>
                  <a:lnTo>
                    <a:pt x="417" y="743"/>
                  </a:lnTo>
                  <a:lnTo>
                    <a:pt x="408" y="734"/>
                  </a:lnTo>
                  <a:lnTo>
                    <a:pt x="398" y="724"/>
                  </a:lnTo>
                  <a:lnTo>
                    <a:pt x="390" y="713"/>
                  </a:lnTo>
                  <a:lnTo>
                    <a:pt x="381" y="703"/>
                  </a:lnTo>
                  <a:lnTo>
                    <a:pt x="375" y="691"/>
                  </a:lnTo>
                  <a:lnTo>
                    <a:pt x="367" y="680"/>
                  </a:lnTo>
                  <a:lnTo>
                    <a:pt x="361" y="667"/>
                  </a:lnTo>
                  <a:lnTo>
                    <a:pt x="355" y="654"/>
                  </a:lnTo>
                  <a:lnTo>
                    <a:pt x="350" y="641"/>
                  </a:lnTo>
                  <a:lnTo>
                    <a:pt x="346" y="627"/>
                  </a:lnTo>
                  <a:lnTo>
                    <a:pt x="341" y="614"/>
                  </a:lnTo>
                  <a:lnTo>
                    <a:pt x="338" y="600"/>
                  </a:lnTo>
                  <a:lnTo>
                    <a:pt x="336" y="584"/>
                  </a:lnTo>
                  <a:lnTo>
                    <a:pt x="335" y="570"/>
                  </a:lnTo>
                  <a:lnTo>
                    <a:pt x="333" y="554"/>
                  </a:lnTo>
                  <a:lnTo>
                    <a:pt x="332" y="539"/>
                  </a:lnTo>
                  <a:lnTo>
                    <a:pt x="333" y="523"/>
                  </a:lnTo>
                  <a:lnTo>
                    <a:pt x="335" y="508"/>
                  </a:lnTo>
                  <a:lnTo>
                    <a:pt x="336" y="492"/>
                  </a:lnTo>
                  <a:lnTo>
                    <a:pt x="338" y="478"/>
                  </a:lnTo>
                  <a:lnTo>
                    <a:pt x="341" y="463"/>
                  </a:lnTo>
                  <a:lnTo>
                    <a:pt x="346" y="449"/>
                  </a:lnTo>
                  <a:lnTo>
                    <a:pt x="350" y="435"/>
                  </a:lnTo>
                  <a:lnTo>
                    <a:pt x="355" y="422"/>
                  </a:lnTo>
                  <a:lnTo>
                    <a:pt x="361" y="410"/>
                  </a:lnTo>
                  <a:lnTo>
                    <a:pt x="367" y="398"/>
                  </a:lnTo>
                  <a:lnTo>
                    <a:pt x="375" y="385"/>
                  </a:lnTo>
                  <a:lnTo>
                    <a:pt x="381" y="374"/>
                  </a:lnTo>
                  <a:lnTo>
                    <a:pt x="390" y="363"/>
                  </a:lnTo>
                  <a:lnTo>
                    <a:pt x="398" y="353"/>
                  </a:lnTo>
                  <a:lnTo>
                    <a:pt x="408" y="343"/>
                  </a:lnTo>
                  <a:lnTo>
                    <a:pt x="417" y="333"/>
                  </a:lnTo>
                  <a:lnTo>
                    <a:pt x="428" y="324"/>
                  </a:lnTo>
                  <a:lnTo>
                    <a:pt x="438" y="315"/>
                  </a:lnTo>
                  <a:lnTo>
                    <a:pt x="449" y="308"/>
                  </a:lnTo>
                  <a:lnTo>
                    <a:pt x="461" y="300"/>
                  </a:lnTo>
                  <a:lnTo>
                    <a:pt x="473" y="293"/>
                  </a:lnTo>
                  <a:lnTo>
                    <a:pt x="486" y="288"/>
                  </a:lnTo>
                  <a:lnTo>
                    <a:pt x="498" y="281"/>
                  </a:lnTo>
                  <a:lnTo>
                    <a:pt x="511" y="276"/>
                  </a:lnTo>
                  <a:lnTo>
                    <a:pt x="526" y="271"/>
                  </a:lnTo>
                  <a:lnTo>
                    <a:pt x="539" y="268"/>
                  </a:lnTo>
                  <a:lnTo>
                    <a:pt x="553" y="264"/>
                  </a:lnTo>
                  <a:lnTo>
                    <a:pt x="568" y="261"/>
                  </a:lnTo>
                  <a:lnTo>
                    <a:pt x="583" y="259"/>
                  </a:lnTo>
                  <a:lnTo>
                    <a:pt x="599" y="258"/>
                  </a:lnTo>
                  <a:lnTo>
                    <a:pt x="614" y="256"/>
                  </a:lnTo>
                  <a:lnTo>
                    <a:pt x="630" y="255"/>
                  </a:lnTo>
                  <a:lnTo>
                    <a:pt x="647" y="256"/>
                  </a:lnTo>
                  <a:lnTo>
                    <a:pt x="662" y="258"/>
                  </a:lnTo>
                  <a:lnTo>
                    <a:pt x="678" y="259"/>
                  </a:lnTo>
                  <a:lnTo>
                    <a:pt x="692" y="261"/>
                  </a:lnTo>
                  <a:lnTo>
                    <a:pt x="708" y="264"/>
                  </a:lnTo>
                  <a:lnTo>
                    <a:pt x="722" y="268"/>
                  </a:lnTo>
                  <a:lnTo>
                    <a:pt x="736" y="271"/>
                  </a:lnTo>
                  <a:lnTo>
                    <a:pt x="750" y="276"/>
                  </a:lnTo>
                  <a:lnTo>
                    <a:pt x="763" y="281"/>
                  </a:lnTo>
                  <a:lnTo>
                    <a:pt x="776" y="288"/>
                  </a:lnTo>
                  <a:lnTo>
                    <a:pt x="789" y="293"/>
                  </a:lnTo>
                  <a:lnTo>
                    <a:pt x="800" y="300"/>
                  </a:lnTo>
                  <a:lnTo>
                    <a:pt x="812" y="308"/>
                  </a:lnTo>
                  <a:lnTo>
                    <a:pt x="823" y="315"/>
                  </a:lnTo>
                  <a:lnTo>
                    <a:pt x="834" y="324"/>
                  </a:lnTo>
                  <a:lnTo>
                    <a:pt x="844" y="333"/>
                  </a:lnTo>
                  <a:lnTo>
                    <a:pt x="854" y="343"/>
                  </a:lnTo>
                  <a:lnTo>
                    <a:pt x="863" y="353"/>
                  </a:lnTo>
                  <a:lnTo>
                    <a:pt x="872" y="363"/>
                  </a:lnTo>
                  <a:lnTo>
                    <a:pt x="880" y="374"/>
                  </a:lnTo>
                  <a:lnTo>
                    <a:pt x="888" y="385"/>
                  </a:lnTo>
                  <a:lnTo>
                    <a:pt x="894" y="398"/>
                  </a:lnTo>
                  <a:lnTo>
                    <a:pt x="901" y="410"/>
                  </a:lnTo>
                  <a:lnTo>
                    <a:pt x="907" y="422"/>
                  </a:lnTo>
                  <a:lnTo>
                    <a:pt x="912" y="435"/>
                  </a:lnTo>
                  <a:lnTo>
                    <a:pt x="917" y="449"/>
                  </a:lnTo>
                  <a:lnTo>
                    <a:pt x="920" y="463"/>
                  </a:lnTo>
                  <a:lnTo>
                    <a:pt x="923" y="478"/>
                  </a:lnTo>
                  <a:lnTo>
                    <a:pt x="925" y="492"/>
                  </a:lnTo>
                  <a:lnTo>
                    <a:pt x="928" y="508"/>
                  </a:lnTo>
                  <a:lnTo>
                    <a:pt x="929" y="523"/>
                  </a:lnTo>
                  <a:lnTo>
                    <a:pt x="929" y="539"/>
                  </a:lnTo>
                  <a:close/>
                  <a:moveTo>
                    <a:pt x="506" y="539"/>
                  </a:moveTo>
                  <a:lnTo>
                    <a:pt x="507" y="552"/>
                  </a:lnTo>
                  <a:lnTo>
                    <a:pt x="509" y="565"/>
                  </a:lnTo>
                  <a:lnTo>
                    <a:pt x="511" y="577"/>
                  </a:lnTo>
                  <a:lnTo>
                    <a:pt x="513" y="584"/>
                  </a:lnTo>
                  <a:lnTo>
                    <a:pt x="516" y="590"/>
                  </a:lnTo>
                  <a:lnTo>
                    <a:pt x="521" y="601"/>
                  </a:lnTo>
                  <a:lnTo>
                    <a:pt x="527" y="611"/>
                  </a:lnTo>
                  <a:lnTo>
                    <a:pt x="534" y="621"/>
                  </a:lnTo>
                  <a:lnTo>
                    <a:pt x="542" y="629"/>
                  </a:lnTo>
                  <a:lnTo>
                    <a:pt x="547" y="633"/>
                  </a:lnTo>
                  <a:lnTo>
                    <a:pt x="551" y="636"/>
                  </a:lnTo>
                  <a:lnTo>
                    <a:pt x="556" y="640"/>
                  </a:lnTo>
                  <a:lnTo>
                    <a:pt x="561" y="643"/>
                  </a:lnTo>
                  <a:lnTo>
                    <a:pt x="571" y="649"/>
                  </a:lnTo>
                  <a:lnTo>
                    <a:pt x="582" y="654"/>
                  </a:lnTo>
                  <a:lnTo>
                    <a:pt x="593" y="657"/>
                  </a:lnTo>
                  <a:lnTo>
                    <a:pt x="606" y="661"/>
                  </a:lnTo>
                  <a:lnTo>
                    <a:pt x="611" y="661"/>
                  </a:lnTo>
                  <a:lnTo>
                    <a:pt x="618" y="662"/>
                  </a:lnTo>
                  <a:lnTo>
                    <a:pt x="630" y="663"/>
                  </a:lnTo>
                  <a:lnTo>
                    <a:pt x="643" y="662"/>
                  </a:lnTo>
                  <a:lnTo>
                    <a:pt x="656" y="661"/>
                  </a:lnTo>
                  <a:lnTo>
                    <a:pt x="668" y="657"/>
                  </a:lnTo>
                  <a:lnTo>
                    <a:pt x="673" y="656"/>
                  </a:lnTo>
                  <a:lnTo>
                    <a:pt x="679" y="654"/>
                  </a:lnTo>
                  <a:lnTo>
                    <a:pt x="690" y="649"/>
                  </a:lnTo>
                  <a:lnTo>
                    <a:pt x="696" y="646"/>
                  </a:lnTo>
                  <a:lnTo>
                    <a:pt x="700" y="643"/>
                  </a:lnTo>
                  <a:lnTo>
                    <a:pt x="706" y="640"/>
                  </a:lnTo>
                  <a:lnTo>
                    <a:pt x="710" y="636"/>
                  </a:lnTo>
                  <a:lnTo>
                    <a:pt x="719" y="629"/>
                  </a:lnTo>
                  <a:lnTo>
                    <a:pt x="727" y="621"/>
                  </a:lnTo>
                  <a:lnTo>
                    <a:pt x="733" y="611"/>
                  </a:lnTo>
                  <a:lnTo>
                    <a:pt x="740" y="601"/>
                  </a:lnTo>
                  <a:lnTo>
                    <a:pt x="742" y="595"/>
                  </a:lnTo>
                  <a:lnTo>
                    <a:pt x="744" y="590"/>
                  </a:lnTo>
                  <a:lnTo>
                    <a:pt x="749" y="577"/>
                  </a:lnTo>
                  <a:lnTo>
                    <a:pt x="752" y="565"/>
                  </a:lnTo>
                  <a:lnTo>
                    <a:pt x="753" y="552"/>
                  </a:lnTo>
                  <a:lnTo>
                    <a:pt x="754" y="539"/>
                  </a:lnTo>
                  <a:lnTo>
                    <a:pt x="753" y="524"/>
                  </a:lnTo>
                  <a:lnTo>
                    <a:pt x="753" y="517"/>
                  </a:lnTo>
                  <a:lnTo>
                    <a:pt x="752" y="511"/>
                  </a:lnTo>
                  <a:lnTo>
                    <a:pt x="749" y="499"/>
                  </a:lnTo>
                  <a:lnTo>
                    <a:pt x="747" y="493"/>
                  </a:lnTo>
                  <a:lnTo>
                    <a:pt x="744" y="488"/>
                  </a:lnTo>
                  <a:lnTo>
                    <a:pt x="740" y="476"/>
                  </a:lnTo>
                  <a:lnTo>
                    <a:pt x="733" y="465"/>
                  </a:lnTo>
                  <a:lnTo>
                    <a:pt x="727" y="456"/>
                  </a:lnTo>
                  <a:lnTo>
                    <a:pt x="719" y="448"/>
                  </a:lnTo>
                  <a:lnTo>
                    <a:pt x="714" y="444"/>
                  </a:lnTo>
                  <a:lnTo>
                    <a:pt x="710" y="440"/>
                  </a:lnTo>
                  <a:lnTo>
                    <a:pt x="706" y="436"/>
                  </a:lnTo>
                  <a:lnTo>
                    <a:pt x="700" y="433"/>
                  </a:lnTo>
                  <a:lnTo>
                    <a:pt x="690" y="428"/>
                  </a:lnTo>
                  <a:lnTo>
                    <a:pt x="679" y="423"/>
                  </a:lnTo>
                  <a:lnTo>
                    <a:pt x="668" y="420"/>
                  </a:lnTo>
                  <a:lnTo>
                    <a:pt x="656" y="416"/>
                  </a:lnTo>
                  <a:lnTo>
                    <a:pt x="643" y="415"/>
                  </a:lnTo>
                  <a:lnTo>
                    <a:pt x="630" y="414"/>
                  </a:lnTo>
                  <a:lnTo>
                    <a:pt x="618" y="415"/>
                  </a:lnTo>
                  <a:lnTo>
                    <a:pt x="606" y="416"/>
                  </a:lnTo>
                  <a:lnTo>
                    <a:pt x="593" y="420"/>
                  </a:lnTo>
                  <a:lnTo>
                    <a:pt x="588" y="421"/>
                  </a:lnTo>
                  <a:lnTo>
                    <a:pt x="582" y="423"/>
                  </a:lnTo>
                  <a:lnTo>
                    <a:pt x="571" y="428"/>
                  </a:lnTo>
                  <a:lnTo>
                    <a:pt x="566" y="431"/>
                  </a:lnTo>
                  <a:lnTo>
                    <a:pt x="561" y="433"/>
                  </a:lnTo>
                  <a:lnTo>
                    <a:pt x="556" y="436"/>
                  </a:lnTo>
                  <a:lnTo>
                    <a:pt x="551" y="440"/>
                  </a:lnTo>
                  <a:lnTo>
                    <a:pt x="542" y="448"/>
                  </a:lnTo>
                  <a:lnTo>
                    <a:pt x="534" y="456"/>
                  </a:lnTo>
                  <a:lnTo>
                    <a:pt x="527" y="465"/>
                  </a:lnTo>
                  <a:lnTo>
                    <a:pt x="521" y="476"/>
                  </a:lnTo>
                  <a:lnTo>
                    <a:pt x="516" y="488"/>
                  </a:lnTo>
                  <a:lnTo>
                    <a:pt x="511" y="499"/>
                  </a:lnTo>
                  <a:lnTo>
                    <a:pt x="509" y="511"/>
                  </a:lnTo>
                  <a:lnTo>
                    <a:pt x="507" y="524"/>
                  </a:lnTo>
                  <a:lnTo>
                    <a:pt x="507" y="531"/>
                  </a:lnTo>
                  <a:lnTo>
                    <a:pt x="506" y="539"/>
                  </a:lnTo>
                  <a:close/>
                  <a:moveTo>
                    <a:pt x="1145" y="175"/>
                  </a:moveTo>
                  <a:lnTo>
                    <a:pt x="959" y="175"/>
                  </a:lnTo>
                  <a:lnTo>
                    <a:pt x="959" y="1"/>
                  </a:lnTo>
                  <a:lnTo>
                    <a:pt x="1145" y="1"/>
                  </a:lnTo>
                  <a:lnTo>
                    <a:pt x="1145" y="175"/>
                  </a:lnTo>
                  <a:close/>
                  <a:moveTo>
                    <a:pt x="965" y="273"/>
                  </a:moveTo>
                  <a:lnTo>
                    <a:pt x="1139" y="273"/>
                  </a:lnTo>
                  <a:lnTo>
                    <a:pt x="1139" y="804"/>
                  </a:lnTo>
                  <a:lnTo>
                    <a:pt x="965" y="804"/>
                  </a:lnTo>
                  <a:lnTo>
                    <a:pt x="965" y="273"/>
                  </a:lnTo>
                  <a:close/>
                  <a:moveTo>
                    <a:pt x="1750" y="475"/>
                  </a:moveTo>
                  <a:lnTo>
                    <a:pt x="1750" y="804"/>
                  </a:lnTo>
                  <a:lnTo>
                    <a:pt x="1578" y="804"/>
                  </a:lnTo>
                  <a:lnTo>
                    <a:pt x="1578" y="523"/>
                  </a:lnTo>
                  <a:lnTo>
                    <a:pt x="1576" y="509"/>
                  </a:lnTo>
                  <a:lnTo>
                    <a:pt x="1575" y="495"/>
                  </a:lnTo>
                  <a:lnTo>
                    <a:pt x="1573" y="483"/>
                  </a:lnTo>
                  <a:lnTo>
                    <a:pt x="1571" y="472"/>
                  </a:lnTo>
                  <a:lnTo>
                    <a:pt x="1568" y="462"/>
                  </a:lnTo>
                  <a:lnTo>
                    <a:pt x="1563" y="452"/>
                  </a:lnTo>
                  <a:lnTo>
                    <a:pt x="1559" y="444"/>
                  </a:lnTo>
                  <a:lnTo>
                    <a:pt x="1555" y="440"/>
                  </a:lnTo>
                  <a:lnTo>
                    <a:pt x="1552" y="436"/>
                  </a:lnTo>
                  <a:lnTo>
                    <a:pt x="1546" y="430"/>
                  </a:lnTo>
                  <a:lnTo>
                    <a:pt x="1539" y="424"/>
                  </a:lnTo>
                  <a:lnTo>
                    <a:pt x="1531" y="420"/>
                  </a:lnTo>
                  <a:lnTo>
                    <a:pt x="1522" y="415"/>
                  </a:lnTo>
                  <a:lnTo>
                    <a:pt x="1512" y="412"/>
                  </a:lnTo>
                  <a:lnTo>
                    <a:pt x="1502" y="410"/>
                  </a:lnTo>
                  <a:lnTo>
                    <a:pt x="1491" y="409"/>
                  </a:lnTo>
                  <a:lnTo>
                    <a:pt x="1480" y="409"/>
                  </a:lnTo>
                  <a:lnTo>
                    <a:pt x="1469" y="409"/>
                  </a:lnTo>
                  <a:lnTo>
                    <a:pt x="1463" y="410"/>
                  </a:lnTo>
                  <a:lnTo>
                    <a:pt x="1459" y="410"/>
                  </a:lnTo>
                  <a:lnTo>
                    <a:pt x="1449" y="412"/>
                  </a:lnTo>
                  <a:lnTo>
                    <a:pt x="1439" y="415"/>
                  </a:lnTo>
                  <a:lnTo>
                    <a:pt x="1430" y="420"/>
                  </a:lnTo>
                  <a:lnTo>
                    <a:pt x="1425" y="422"/>
                  </a:lnTo>
                  <a:lnTo>
                    <a:pt x="1421" y="424"/>
                  </a:lnTo>
                  <a:lnTo>
                    <a:pt x="1413" y="431"/>
                  </a:lnTo>
                  <a:lnTo>
                    <a:pt x="1410" y="434"/>
                  </a:lnTo>
                  <a:lnTo>
                    <a:pt x="1406" y="438"/>
                  </a:lnTo>
                  <a:lnTo>
                    <a:pt x="1403" y="442"/>
                  </a:lnTo>
                  <a:lnTo>
                    <a:pt x="1400" y="445"/>
                  </a:lnTo>
                  <a:lnTo>
                    <a:pt x="1394" y="455"/>
                  </a:lnTo>
                  <a:lnTo>
                    <a:pt x="1389" y="465"/>
                  </a:lnTo>
                  <a:lnTo>
                    <a:pt x="1386" y="471"/>
                  </a:lnTo>
                  <a:lnTo>
                    <a:pt x="1385" y="478"/>
                  </a:lnTo>
                  <a:lnTo>
                    <a:pt x="1383" y="484"/>
                  </a:lnTo>
                  <a:lnTo>
                    <a:pt x="1382" y="491"/>
                  </a:lnTo>
                  <a:lnTo>
                    <a:pt x="1379" y="504"/>
                  </a:lnTo>
                  <a:lnTo>
                    <a:pt x="1378" y="520"/>
                  </a:lnTo>
                  <a:lnTo>
                    <a:pt x="1378" y="537"/>
                  </a:lnTo>
                  <a:lnTo>
                    <a:pt x="1378" y="804"/>
                  </a:lnTo>
                  <a:lnTo>
                    <a:pt x="1203" y="804"/>
                  </a:lnTo>
                  <a:lnTo>
                    <a:pt x="1203" y="273"/>
                  </a:lnTo>
                  <a:lnTo>
                    <a:pt x="1374" y="273"/>
                  </a:lnTo>
                  <a:lnTo>
                    <a:pt x="1374" y="353"/>
                  </a:lnTo>
                  <a:lnTo>
                    <a:pt x="1376" y="353"/>
                  </a:lnTo>
                  <a:lnTo>
                    <a:pt x="1383" y="342"/>
                  </a:lnTo>
                  <a:lnTo>
                    <a:pt x="1391" y="331"/>
                  </a:lnTo>
                  <a:lnTo>
                    <a:pt x="1400" y="321"/>
                  </a:lnTo>
                  <a:lnTo>
                    <a:pt x="1409" y="312"/>
                  </a:lnTo>
                  <a:lnTo>
                    <a:pt x="1418" y="303"/>
                  </a:lnTo>
                  <a:lnTo>
                    <a:pt x="1422" y="299"/>
                  </a:lnTo>
                  <a:lnTo>
                    <a:pt x="1428" y="295"/>
                  </a:lnTo>
                  <a:lnTo>
                    <a:pt x="1438" y="288"/>
                  </a:lnTo>
                  <a:lnTo>
                    <a:pt x="1449" y="281"/>
                  </a:lnTo>
                  <a:lnTo>
                    <a:pt x="1460" y="275"/>
                  </a:lnTo>
                  <a:lnTo>
                    <a:pt x="1472" y="270"/>
                  </a:lnTo>
                  <a:lnTo>
                    <a:pt x="1483" y="265"/>
                  </a:lnTo>
                  <a:lnTo>
                    <a:pt x="1496" y="262"/>
                  </a:lnTo>
                  <a:lnTo>
                    <a:pt x="1509" y="260"/>
                  </a:lnTo>
                  <a:lnTo>
                    <a:pt x="1522" y="258"/>
                  </a:lnTo>
                  <a:lnTo>
                    <a:pt x="1535" y="256"/>
                  </a:lnTo>
                  <a:lnTo>
                    <a:pt x="1550" y="255"/>
                  </a:lnTo>
                  <a:lnTo>
                    <a:pt x="1571" y="256"/>
                  </a:lnTo>
                  <a:lnTo>
                    <a:pt x="1582" y="258"/>
                  </a:lnTo>
                  <a:lnTo>
                    <a:pt x="1592" y="259"/>
                  </a:lnTo>
                  <a:lnTo>
                    <a:pt x="1602" y="261"/>
                  </a:lnTo>
                  <a:lnTo>
                    <a:pt x="1612" y="263"/>
                  </a:lnTo>
                  <a:lnTo>
                    <a:pt x="1621" y="265"/>
                  </a:lnTo>
                  <a:lnTo>
                    <a:pt x="1630" y="269"/>
                  </a:lnTo>
                  <a:lnTo>
                    <a:pt x="1640" y="272"/>
                  </a:lnTo>
                  <a:lnTo>
                    <a:pt x="1647" y="276"/>
                  </a:lnTo>
                  <a:lnTo>
                    <a:pt x="1656" y="281"/>
                  </a:lnTo>
                  <a:lnTo>
                    <a:pt x="1664" y="285"/>
                  </a:lnTo>
                  <a:lnTo>
                    <a:pt x="1672" y="291"/>
                  </a:lnTo>
                  <a:lnTo>
                    <a:pt x="1680" y="296"/>
                  </a:lnTo>
                  <a:lnTo>
                    <a:pt x="1686" y="302"/>
                  </a:lnTo>
                  <a:lnTo>
                    <a:pt x="1693" y="309"/>
                  </a:lnTo>
                  <a:lnTo>
                    <a:pt x="1700" y="315"/>
                  </a:lnTo>
                  <a:lnTo>
                    <a:pt x="1706" y="323"/>
                  </a:lnTo>
                  <a:lnTo>
                    <a:pt x="1712" y="331"/>
                  </a:lnTo>
                  <a:lnTo>
                    <a:pt x="1717" y="339"/>
                  </a:lnTo>
                  <a:lnTo>
                    <a:pt x="1722" y="348"/>
                  </a:lnTo>
                  <a:lnTo>
                    <a:pt x="1726" y="358"/>
                  </a:lnTo>
                  <a:lnTo>
                    <a:pt x="1731" y="366"/>
                  </a:lnTo>
                  <a:lnTo>
                    <a:pt x="1735" y="376"/>
                  </a:lnTo>
                  <a:lnTo>
                    <a:pt x="1739" y="388"/>
                  </a:lnTo>
                  <a:lnTo>
                    <a:pt x="1741" y="399"/>
                  </a:lnTo>
                  <a:lnTo>
                    <a:pt x="1744" y="410"/>
                  </a:lnTo>
                  <a:lnTo>
                    <a:pt x="1745" y="422"/>
                  </a:lnTo>
                  <a:lnTo>
                    <a:pt x="1747" y="434"/>
                  </a:lnTo>
                  <a:lnTo>
                    <a:pt x="1749" y="448"/>
                  </a:lnTo>
                  <a:lnTo>
                    <a:pt x="1750" y="461"/>
                  </a:lnTo>
                  <a:lnTo>
                    <a:pt x="1750" y="475"/>
                  </a:lnTo>
                  <a:close/>
                  <a:moveTo>
                    <a:pt x="2235" y="418"/>
                  </a:moveTo>
                  <a:lnTo>
                    <a:pt x="2235" y="577"/>
                  </a:lnTo>
                  <a:lnTo>
                    <a:pt x="2236" y="594"/>
                  </a:lnTo>
                  <a:lnTo>
                    <a:pt x="2238" y="609"/>
                  </a:lnTo>
                  <a:lnTo>
                    <a:pt x="2240" y="614"/>
                  </a:lnTo>
                  <a:lnTo>
                    <a:pt x="2242" y="620"/>
                  </a:lnTo>
                  <a:lnTo>
                    <a:pt x="2244" y="624"/>
                  </a:lnTo>
                  <a:lnTo>
                    <a:pt x="2247" y="629"/>
                  </a:lnTo>
                  <a:lnTo>
                    <a:pt x="2251" y="632"/>
                  </a:lnTo>
                  <a:lnTo>
                    <a:pt x="2255" y="635"/>
                  </a:lnTo>
                  <a:lnTo>
                    <a:pt x="2260" y="637"/>
                  </a:lnTo>
                  <a:lnTo>
                    <a:pt x="2265" y="640"/>
                  </a:lnTo>
                  <a:lnTo>
                    <a:pt x="2271" y="641"/>
                  </a:lnTo>
                  <a:lnTo>
                    <a:pt x="2277" y="642"/>
                  </a:lnTo>
                  <a:lnTo>
                    <a:pt x="2285" y="643"/>
                  </a:lnTo>
                  <a:lnTo>
                    <a:pt x="2293" y="643"/>
                  </a:lnTo>
                  <a:lnTo>
                    <a:pt x="2313" y="643"/>
                  </a:lnTo>
                  <a:lnTo>
                    <a:pt x="2313" y="804"/>
                  </a:lnTo>
                  <a:lnTo>
                    <a:pt x="2240" y="804"/>
                  </a:lnTo>
                  <a:lnTo>
                    <a:pt x="2221" y="803"/>
                  </a:lnTo>
                  <a:lnTo>
                    <a:pt x="2211" y="803"/>
                  </a:lnTo>
                  <a:lnTo>
                    <a:pt x="2202" y="802"/>
                  </a:lnTo>
                  <a:lnTo>
                    <a:pt x="2184" y="799"/>
                  </a:lnTo>
                  <a:lnTo>
                    <a:pt x="2166" y="794"/>
                  </a:lnTo>
                  <a:lnTo>
                    <a:pt x="2158" y="791"/>
                  </a:lnTo>
                  <a:lnTo>
                    <a:pt x="2151" y="787"/>
                  </a:lnTo>
                  <a:lnTo>
                    <a:pt x="2143" y="784"/>
                  </a:lnTo>
                  <a:lnTo>
                    <a:pt x="2136" y="781"/>
                  </a:lnTo>
                  <a:lnTo>
                    <a:pt x="2130" y="776"/>
                  </a:lnTo>
                  <a:lnTo>
                    <a:pt x="2123" y="772"/>
                  </a:lnTo>
                  <a:lnTo>
                    <a:pt x="2116" y="767"/>
                  </a:lnTo>
                  <a:lnTo>
                    <a:pt x="2111" y="762"/>
                  </a:lnTo>
                  <a:lnTo>
                    <a:pt x="2105" y="756"/>
                  </a:lnTo>
                  <a:lnTo>
                    <a:pt x="2100" y="751"/>
                  </a:lnTo>
                  <a:lnTo>
                    <a:pt x="2090" y="737"/>
                  </a:lnTo>
                  <a:lnTo>
                    <a:pt x="2085" y="730"/>
                  </a:lnTo>
                  <a:lnTo>
                    <a:pt x="2082" y="723"/>
                  </a:lnTo>
                  <a:lnTo>
                    <a:pt x="2075" y="706"/>
                  </a:lnTo>
                  <a:lnTo>
                    <a:pt x="2070" y="689"/>
                  </a:lnTo>
                  <a:lnTo>
                    <a:pt x="2067" y="679"/>
                  </a:lnTo>
                  <a:lnTo>
                    <a:pt x="2065" y="669"/>
                  </a:lnTo>
                  <a:lnTo>
                    <a:pt x="2064" y="659"/>
                  </a:lnTo>
                  <a:lnTo>
                    <a:pt x="2063" y="647"/>
                  </a:lnTo>
                  <a:lnTo>
                    <a:pt x="2062" y="636"/>
                  </a:lnTo>
                  <a:lnTo>
                    <a:pt x="2062" y="624"/>
                  </a:lnTo>
                  <a:lnTo>
                    <a:pt x="2062" y="418"/>
                  </a:lnTo>
                  <a:lnTo>
                    <a:pt x="1959" y="418"/>
                  </a:lnTo>
                  <a:lnTo>
                    <a:pt x="1959" y="273"/>
                  </a:lnTo>
                  <a:lnTo>
                    <a:pt x="2062" y="273"/>
                  </a:lnTo>
                  <a:lnTo>
                    <a:pt x="2062" y="60"/>
                  </a:lnTo>
                  <a:lnTo>
                    <a:pt x="2235" y="60"/>
                  </a:lnTo>
                  <a:lnTo>
                    <a:pt x="2235" y="273"/>
                  </a:lnTo>
                  <a:lnTo>
                    <a:pt x="2345" y="273"/>
                  </a:lnTo>
                  <a:lnTo>
                    <a:pt x="2345" y="418"/>
                  </a:lnTo>
                  <a:lnTo>
                    <a:pt x="2235" y="418"/>
                  </a:lnTo>
                  <a:close/>
                  <a:moveTo>
                    <a:pt x="2556" y="343"/>
                  </a:moveTo>
                  <a:lnTo>
                    <a:pt x="2558" y="343"/>
                  </a:lnTo>
                  <a:lnTo>
                    <a:pt x="2565" y="333"/>
                  </a:lnTo>
                  <a:lnTo>
                    <a:pt x="2573" y="323"/>
                  </a:lnTo>
                  <a:lnTo>
                    <a:pt x="2581" y="314"/>
                  </a:lnTo>
                  <a:lnTo>
                    <a:pt x="2585" y="310"/>
                  </a:lnTo>
                  <a:lnTo>
                    <a:pt x="2589" y="305"/>
                  </a:lnTo>
                  <a:lnTo>
                    <a:pt x="2598" y="298"/>
                  </a:lnTo>
                  <a:lnTo>
                    <a:pt x="2608" y="291"/>
                  </a:lnTo>
                  <a:lnTo>
                    <a:pt x="2618" y="284"/>
                  </a:lnTo>
                  <a:lnTo>
                    <a:pt x="2628" y="279"/>
                  </a:lnTo>
                  <a:lnTo>
                    <a:pt x="2639" y="273"/>
                  </a:lnTo>
                  <a:lnTo>
                    <a:pt x="2651" y="269"/>
                  </a:lnTo>
                  <a:lnTo>
                    <a:pt x="2663" y="264"/>
                  </a:lnTo>
                  <a:lnTo>
                    <a:pt x="2675" y="261"/>
                  </a:lnTo>
                  <a:lnTo>
                    <a:pt x="2687" y="259"/>
                  </a:lnTo>
                  <a:lnTo>
                    <a:pt x="2694" y="258"/>
                  </a:lnTo>
                  <a:lnTo>
                    <a:pt x="2701" y="258"/>
                  </a:lnTo>
                  <a:lnTo>
                    <a:pt x="2714" y="256"/>
                  </a:lnTo>
                  <a:lnTo>
                    <a:pt x="2728" y="255"/>
                  </a:lnTo>
                  <a:lnTo>
                    <a:pt x="2749" y="256"/>
                  </a:lnTo>
                  <a:lnTo>
                    <a:pt x="2760" y="258"/>
                  </a:lnTo>
                  <a:lnTo>
                    <a:pt x="2770" y="259"/>
                  </a:lnTo>
                  <a:lnTo>
                    <a:pt x="2780" y="261"/>
                  </a:lnTo>
                  <a:lnTo>
                    <a:pt x="2790" y="263"/>
                  </a:lnTo>
                  <a:lnTo>
                    <a:pt x="2799" y="265"/>
                  </a:lnTo>
                  <a:lnTo>
                    <a:pt x="2809" y="269"/>
                  </a:lnTo>
                  <a:lnTo>
                    <a:pt x="2818" y="272"/>
                  </a:lnTo>
                  <a:lnTo>
                    <a:pt x="2826" y="276"/>
                  </a:lnTo>
                  <a:lnTo>
                    <a:pt x="2835" y="281"/>
                  </a:lnTo>
                  <a:lnTo>
                    <a:pt x="2843" y="285"/>
                  </a:lnTo>
                  <a:lnTo>
                    <a:pt x="2850" y="291"/>
                  </a:lnTo>
                  <a:lnTo>
                    <a:pt x="2858" y="296"/>
                  </a:lnTo>
                  <a:lnTo>
                    <a:pt x="2865" y="302"/>
                  </a:lnTo>
                  <a:lnTo>
                    <a:pt x="2872" y="309"/>
                  </a:lnTo>
                  <a:lnTo>
                    <a:pt x="2878" y="315"/>
                  </a:lnTo>
                  <a:lnTo>
                    <a:pt x="2885" y="323"/>
                  </a:lnTo>
                  <a:lnTo>
                    <a:pt x="2890" y="331"/>
                  </a:lnTo>
                  <a:lnTo>
                    <a:pt x="2896" y="339"/>
                  </a:lnTo>
                  <a:lnTo>
                    <a:pt x="2900" y="348"/>
                  </a:lnTo>
                  <a:lnTo>
                    <a:pt x="2905" y="358"/>
                  </a:lnTo>
                  <a:lnTo>
                    <a:pt x="2909" y="366"/>
                  </a:lnTo>
                  <a:lnTo>
                    <a:pt x="2914" y="376"/>
                  </a:lnTo>
                  <a:lnTo>
                    <a:pt x="2917" y="388"/>
                  </a:lnTo>
                  <a:lnTo>
                    <a:pt x="2919" y="399"/>
                  </a:lnTo>
                  <a:lnTo>
                    <a:pt x="2923" y="410"/>
                  </a:lnTo>
                  <a:lnTo>
                    <a:pt x="2925" y="422"/>
                  </a:lnTo>
                  <a:lnTo>
                    <a:pt x="2926" y="434"/>
                  </a:lnTo>
                  <a:lnTo>
                    <a:pt x="2927" y="448"/>
                  </a:lnTo>
                  <a:lnTo>
                    <a:pt x="2928" y="461"/>
                  </a:lnTo>
                  <a:lnTo>
                    <a:pt x="2928" y="475"/>
                  </a:lnTo>
                  <a:lnTo>
                    <a:pt x="2928" y="804"/>
                  </a:lnTo>
                  <a:lnTo>
                    <a:pt x="2755" y="804"/>
                  </a:lnTo>
                  <a:lnTo>
                    <a:pt x="2755" y="523"/>
                  </a:lnTo>
                  <a:lnTo>
                    <a:pt x="2754" y="509"/>
                  </a:lnTo>
                  <a:lnTo>
                    <a:pt x="2753" y="495"/>
                  </a:lnTo>
                  <a:lnTo>
                    <a:pt x="2752" y="483"/>
                  </a:lnTo>
                  <a:lnTo>
                    <a:pt x="2748" y="472"/>
                  </a:lnTo>
                  <a:lnTo>
                    <a:pt x="2745" y="462"/>
                  </a:lnTo>
                  <a:lnTo>
                    <a:pt x="2741" y="452"/>
                  </a:lnTo>
                  <a:lnTo>
                    <a:pt x="2738" y="448"/>
                  </a:lnTo>
                  <a:lnTo>
                    <a:pt x="2736" y="444"/>
                  </a:lnTo>
                  <a:lnTo>
                    <a:pt x="2733" y="440"/>
                  </a:lnTo>
                  <a:lnTo>
                    <a:pt x="2731" y="436"/>
                  </a:lnTo>
                  <a:lnTo>
                    <a:pt x="2724" y="430"/>
                  </a:lnTo>
                  <a:lnTo>
                    <a:pt x="2716" y="424"/>
                  </a:lnTo>
                  <a:lnTo>
                    <a:pt x="2708" y="420"/>
                  </a:lnTo>
                  <a:lnTo>
                    <a:pt x="2699" y="415"/>
                  </a:lnTo>
                  <a:lnTo>
                    <a:pt x="2691" y="412"/>
                  </a:lnTo>
                  <a:lnTo>
                    <a:pt x="2681" y="410"/>
                  </a:lnTo>
                  <a:lnTo>
                    <a:pt x="2669" y="409"/>
                  </a:lnTo>
                  <a:lnTo>
                    <a:pt x="2658" y="409"/>
                  </a:lnTo>
                  <a:lnTo>
                    <a:pt x="2647" y="409"/>
                  </a:lnTo>
                  <a:lnTo>
                    <a:pt x="2642" y="410"/>
                  </a:lnTo>
                  <a:lnTo>
                    <a:pt x="2637" y="410"/>
                  </a:lnTo>
                  <a:lnTo>
                    <a:pt x="2627" y="412"/>
                  </a:lnTo>
                  <a:lnTo>
                    <a:pt x="2617" y="415"/>
                  </a:lnTo>
                  <a:lnTo>
                    <a:pt x="2608" y="420"/>
                  </a:lnTo>
                  <a:lnTo>
                    <a:pt x="2604" y="422"/>
                  </a:lnTo>
                  <a:lnTo>
                    <a:pt x="2599" y="424"/>
                  </a:lnTo>
                  <a:lnTo>
                    <a:pt x="2592" y="431"/>
                  </a:lnTo>
                  <a:lnTo>
                    <a:pt x="2588" y="434"/>
                  </a:lnTo>
                  <a:lnTo>
                    <a:pt x="2585" y="438"/>
                  </a:lnTo>
                  <a:lnTo>
                    <a:pt x="2582" y="442"/>
                  </a:lnTo>
                  <a:lnTo>
                    <a:pt x="2578" y="445"/>
                  </a:lnTo>
                  <a:lnTo>
                    <a:pt x="2573" y="455"/>
                  </a:lnTo>
                  <a:lnTo>
                    <a:pt x="2567" y="465"/>
                  </a:lnTo>
                  <a:lnTo>
                    <a:pt x="2566" y="471"/>
                  </a:lnTo>
                  <a:lnTo>
                    <a:pt x="2564" y="478"/>
                  </a:lnTo>
                  <a:lnTo>
                    <a:pt x="2562" y="484"/>
                  </a:lnTo>
                  <a:lnTo>
                    <a:pt x="2561" y="491"/>
                  </a:lnTo>
                  <a:lnTo>
                    <a:pt x="2558" y="504"/>
                  </a:lnTo>
                  <a:lnTo>
                    <a:pt x="2556" y="520"/>
                  </a:lnTo>
                  <a:lnTo>
                    <a:pt x="2556" y="537"/>
                  </a:lnTo>
                  <a:lnTo>
                    <a:pt x="2556" y="804"/>
                  </a:lnTo>
                  <a:lnTo>
                    <a:pt x="2383" y="804"/>
                  </a:lnTo>
                  <a:lnTo>
                    <a:pt x="2383" y="0"/>
                  </a:lnTo>
                  <a:lnTo>
                    <a:pt x="2556" y="0"/>
                  </a:lnTo>
                  <a:lnTo>
                    <a:pt x="2556" y="343"/>
                  </a:lnTo>
                  <a:close/>
                  <a:moveTo>
                    <a:pt x="3506" y="541"/>
                  </a:moveTo>
                  <a:lnTo>
                    <a:pt x="3506" y="580"/>
                  </a:lnTo>
                  <a:lnTo>
                    <a:pt x="3125" y="580"/>
                  </a:lnTo>
                  <a:lnTo>
                    <a:pt x="3128" y="592"/>
                  </a:lnTo>
                  <a:lnTo>
                    <a:pt x="3131" y="603"/>
                  </a:lnTo>
                  <a:lnTo>
                    <a:pt x="3136" y="613"/>
                  </a:lnTo>
                  <a:lnTo>
                    <a:pt x="3141" y="623"/>
                  </a:lnTo>
                  <a:lnTo>
                    <a:pt x="3147" y="632"/>
                  </a:lnTo>
                  <a:lnTo>
                    <a:pt x="3155" y="640"/>
                  </a:lnTo>
                  <a:lnTo>
                    <a:pt x="3163" y="646"/>
                  </a:lnTo>
                  <a:lnTo>
                    <a:pt x="3170" y="653"/>
                  </a:lnTo>
                  <a:lnTo>
                    <a:pt x="3180" y="659"/>
                  </a:lnTo>
                  <a:lnTo>
                    <a:pt x="3189" y="663"/>
                  </a:lnTo>
                  <a:lnTo>
                    <a:pt x="3200" y="667"/>
                  </a:lnTo>
                  <a:lnTo>
                    <a:pt x="3211" y="671"/>
                  </a:lnTo>
                  <a:lnTo>
                    <a:pt x="3223" y="673"/>
                  </a:lnTo>
                  <a:lnTo>
                    <a:pt x="3229" y="674"/>
                  </a:lnTo>
                  <a:lnTo>
                    <a:pt x="3235" y="675"/>
                  </a:lnTo>
                  <a:lnTo>
                    <a:pt x="3248" y="676"/>
                  </a:lnTo>
                  <a:lnTo>
                    <a:pt x="3260" y="676"/>
                  </a:lnTo>
                  <a:lnTo>
                    <a:pt x="3273" y="676"/>
                  </a:lnTo>
                  <a:lnTo>
                    <a:pt x="3285" y="675"/>
                  </a:lnTo>
                  <a:lnTo>
                    <a:pt x="3296" y="674"/>
                  </a:lnTo>
                  <a:lnTo>
                    <a:pt x="3307" y="672"/>
                  </a:lnTo>
                  <a:lnTo>
                    <a:pt x="3318" y="670"/>
                  </a:lnTo>
                  <a:lnTo>
                    <a:pt x="3329" y="666"/>
                  </a:lnTo>
                  <a:lnTo>
                    <a:pt x="3349" y="661"/>
                  </a:lnTo>
                  <a:lnTo>
                    <a:pt x="3359" y="656"/>
                  </a:lnTo>
                  <a:lnTo>
                    <a:pt x="3368" y="653"/>
                  </a:lnTo>
                  <a:lnTo>
                    <a:pt x="3377" y="649"/>
                  </a:lnTo>
                  <a:lnTo>
                    <a:pt x="3386" y="645"/>
                  </a:lnTo>
                  <a:lnTo>
                    <a:pt x="3401" y="636"/>
                  </a:lnTo>
                  <a:lnTo>
                    <a:pt x="3415" y="627"/>
                  </a:lnTo>
                  <a:lnTo>
                    <a:pt x="3478" y="759"/>
                  </a:lnTo>
                  <a:lnTo>
                    <a:pt x="3467" y="765"/>
                  </a:lnTo>
                  <a:lnTo>
                    <a:pt x="3456" y="772"/>
                  </a:lnTo>
                  <a:lnTo>
                    <a:pt x="3445" y="777"/>
                  </a:lnTo>
                  <a:lnTo>
                    <a:pt x="3433" y="783"/>
                  </a:lnTo>
                  <a:lnTo>
                    <a:pt x="3408" y="794"/>
                  </a:lnTo>
                  <a:lnTo>
                    <a:pt x="3395" y="799"/>
                  </a:lnTo>
                  <a:lnTo>
                    <a:pt x="3381" y="803"/>
                  </a:lnTo>
                  <a:lnTo>
                    <a:pt x="3367" y="807"/>
                  </a:lnTo>
                  <a:lnTo>
                    <a:pt x="3353" y="811"/>
                  </a:lnTo>
                  <a:lnTo>
                    <a:pt x="3338" y="814"/>
                  </a:lnTo>
                  <a:lnTo>
                    <a:pt x="3324" y="816"/>
                  </a:lnTo>
                  <a:lnTo>
                    <a:pt x="3308" y="819"/>
                  </a:lnTo>
                  <a:lnTo>
                    <a:pt x="3291" y="820"/>
                  </a:lnTo>
                  <a:lnTo>
                    <a:pt x="3276" y="821"/>
                  </a:lnTo>
                  <a:lnTo>
                    <a:pt x="3258" y="821"/>
                  </a:lnTo>
                  <a:lnTo>
                    <a:pt x="3243" y="821"/>
                  </a:lnTo>
                  <a:lnTo>
                    <a:pt x="3226" y="820"/>
                  </a:lnTo>
                  <a:lnTo>
                    <a:pt x="3210" y="819"/>
                  </a:lnTo>
                  <a:lnTo>
                    <a:pt x="3195" y="816"/>
                  </a:lnTo>
                  <a:lnTo>
                    <a:pt x="3179" y="813"/>
                  </a:lnTo>
                  <a:lnTo>
                    <a:pt x="3165" y="810"/>
                  </a:lnTo>
                  <a:lnTo>
                    <a:pt x="3150" y="805"/>
                  </a:lnTo>
                  <a:lnTo>
                    <a:pt x="3137" y="801"/>
                  </a:lnTo>
                  <a:lnTo>
                    <a:pt x="3124" y="796"/>
                  </a:lnTo>
                  <a:lnTo>
                    <a:pt x="3110" y="790"/>
                  </a:lnTo>
                  <a:lnTo>
                    <a:pt x="3098" y="784"/>
                  </a:lnTo>
                  <a:lnTo>
                    <a:pt x="3087" y="777"/>
                  </a:lnTo>
                  <a:lnTo>
                    <a:pt x="3080" y="773"/>
                  </a:lnTo>
                  <a:lnTo>
                    <a:pt x="3075" y="770"/>
                  </a:lnTo>
                  <a:lnTo>
                    <a:pt x="3064" y="762"/>
                  </a:lnTo>
                  <a:lnTo>
                    <a:pt x="3054" y="753"/>
                  </a:lnTo>
                  <a:lnTo>
                    <a:pt x="3044" y="744"/>
                  </a:lnTo>
                  <a:lnTo>
                    <a:pt x="3034" y="735"/>
                  </a:lnTo>
                  <a:lnTo>
                    <a:pt x="3025" y="725"/>
                  </a:lnTo>
                  <a:lnTo>
                    <a:pt x="3017" y="714"/>
                  </a:lnTo>
                  <a:lnTo>
                    <a:pt x="3009" y="704"/>
                  </a:lnTo>
                  <a:lnTo>
                    <a:pt x="3002" y="692"/>
                  </a:lnTo>
                  <a:lnTo>
                    <a:pt x="2995" y="681"/>
                  </a:lnTo>
                  <a:lnTo>
                    <a:pt x="2989" y="669"/>
                  </a:lnTo>
                  <a:lnTo>
                    <a:pt x="2984" y="655"/>
                  </a:lnTo>
                  <a:lnTo>
                    <a:pt x="2978" y="643"/>
                  </a:lnTo>
                  <a:lnTo>
                    <a:pt x="2974" y="630"/>
                  </a:lnTo>
                  <a:lnTo>
                    <a:pt x="2970" y="615"/>
                  </a:lnTo>
                  <a:lnTo>
                    <a:pt x="2967" y="601"/>
                  </a:lnTo>
                  <a:lnTo>
                    <a:pt x="2965" y="586"/>
                  </a:lnTo>
                  <a:lnTo>
                    <a:pt x="2964" y="572"/>
                  </a:lnTo>
                  <a:lnTo>
                    <a:pt x="2963" y="556"/>
                  </a:lnTo>
                  <a:lnTo>
                    <a:pt x="2963" y="541"/>
                  </a:lnTo>
                  <a:lnTo>
                    <a:pt x="2963" y="524"/>
                  </a:lnTo>
                  <a:lnTo>
                    <a:pt x="2964" y="508"/>
                  </a:lnTo>
                  <a:lnTo>
                    <a:pt x="2965" y="492"/>
                  </a:lnTo>
                  <a:lnTo>
                    <a:pt x="2967" y="478"/>
                  </a:lnTo>
                  <a:lnTo>
                    <a:pt x="2970" y="462"/>
                  </a:lnTo>
                  <a:lnTo>
                    <a:pt x="2974" y="448"/>
                  </a:lnTo>
                  <a:lnTo>
                    <a:pt x="2978" y="434"/>
                  </a:lnTo>
                  <a:lnTo>
                    <a:pt x="2983" y="421"/>
                  </a:lnTo>
                  <a:lnTo>
                    <a:pt x="2988" y="408"/>
                  </a:lnTo>
                  <a:lnTo>
                    <a:pt x="2994" y="395"/>
                  </a:lnTo>
                  <a:lnTo>
                    <a:pt x="3000" y="383"/>
                  </a:lnTo>
                  <a:lnTo>
                    <a:pt x="3008" y="372"/>
                  </a:lnTo>
                  <a:lnTo>
                    <a:pt x="3015" y="361"/>
                  </a:lnTo>
                  <a:lnTo>
                    <a:pt x="3024" y="351"/>
                  </a:lnTo>
                  <a:lnTo>
                    <a:pt x="3032" y="341"/>
                  </a:lnTo>
                  <a:lnTo>
                    <a:pt x="3042" y="332"/>
                  </a:lnTo>
                  <a:lnTo>
                    <a:pt x="3050" y="323"/>
                  </a:lnTo>
                  <a:lnTo>
                    <a:pt x="3060" y="314"/>
                  </a:lnTo>
                  <a:lnTo>
                    <a:pt x="3072" y="306"/>
                  </a:lnTo>
                  <a:lnTo>
                    <a:pt x="3083" y="300"/>
                  </a:lnTo>
                  <a:lnTo>
                    <a:pt x="3094" y="293"/>
                  </a:lnTo>
                  <a:lnTo>
                    <a:pt x="3105" y="286"/>
                  </a:lnTo>
                  <a:lnTo>
                    <a:pt x="3117" y="281"/>
                  </a:lnTo>
                  <a:lnTo>
                    <a:pt x="3130" y="276"/>
                  </a:lnTo>
                  <a:lnTo>
                    <a:pt x="3143" y="272"/>
                  </a:lnTo>
                  <a:lnTo>
                    <a:pt x="3156" y="268"/>
                  </a:lnTo>
                  <a:lnTo>
                    <a:pt x="3169" y="264"/>
                  </a:lnTo>
                  <a:lnTo>
                    <a:pt x="3184" y="262"/>
                  </a:lnTo>
                  <a:lnTo>
                    <a:pt x="3198" y="260"/>
                  </a:lnTo>
                  <a:lnTo>
                    <a:pt x="3213" y="258"/>
                  </a:lnTo>
                  <a:lnTo>
                    <a:pt x="3227" y="258"/>
                  </a:lnTo>
                  <a:lnTo>
                    <a:pt x="3243" y="256"/>
                  </a:lnTo>
                  <a:lnTo>
                    <a:pt x="3257" y="258"/>
                  </a:lnTo>
                  <a:lnTo>
                    <a:pt x="3271" y="258"/>
                  </a:lnTo>
                  <a:lnTo>
                    <a:pt x="3286" y="260"/>
                  </a:lnTo>
                  <a:lnTo>
                    <a:pt x="3299" y="261"/>
                  </a:lnTo>
                  <a:lnTo>
                    <a:pt x="3313" y="263"/>
                  </a:lnTo>
                  <a:lnTo>
                    <a:pt x="3326" y="266"/>
                  </a:lnTo>
                  <a:lnTo>
                    <a:pt x="3339" y="270"/>
                  </a:lnTo>
                  <a:lnTo>
                    <a:pt x="3345" y="272"/>
                  </a:lnTo>
                  <a:lnTo>
                    <a:pt x="3351" y="274"/>
                  </a:lnTo>
                  <a:lnTo>
                    <a:pt x="3363" y="279"/>
                  </a:lnTo>
                  <a:lnTo>
                    <a:pt x="3375" y="284"/>
                  </a:lnTo>
                  <a:lnTo>
                    <a:pt x="3386" y="290"/>
                  </a:lnTo>
                  <a:lnTo>
                    <a:pt x="3396" y="296"/>
                  </a:lnTo>
                  <a:lnTo>
                    <a:pt x="3406" y="303"/>
                  </a:lnTo>
                  <a:lnTo>
                    <a:pt x="3411" y="306"/>
                  </a:lnTo>
                  <a:lnTo>
                    <a:pt x="3416" y="311"/>
                  </a:lnTo>
                  <a:lnTo>
                    <a:pt x="3425" y="319"/>
                  </a:lnTo>
                  <a:lnTo>
                    <a:pt x="3434" y="326"/>
                  </a:lnTo>
                  <a:lnTo>
                    <a:pt x="3443" y="336"/>
                  </a:lnTo>
                  <a:lnTo>
                    <a:pt x="3450" y="345"/>
                  </a:lnTo>
                  <a:lnTo>
                    <a:pt x="3458" y="355"/>
                  </a:lnTo>
                  <a:lnTo>
                    <a:pt x="3465" y="366"/>
                  </a:lnTo>
                  <a:lnTo>
                    <a:pt x="3471" y="378"/>
                  </a:lnTo>
                  <a:lnTo>
                    <a:pt x="3477" y="390"/>
                  </a:lnTo>
                  <a:lnTo>
                    <a:pt x="3483" y="402"/>
                  </a:lnTo>
                  <a:lnTo>
                    <a:pt x="3487" y="415"/>
                  </a:lnTo>
                  <a:lnTo>
                    <a:pt x="3489" y="422"/>
                  </a:lnTo>
                  <a:lnTo>
                    <a:pt x="3491" y="429"/>
                  </a:lnTo>
                  <a:lnTo>
                    <a:pt x="3495" y="443"/>
                  </a:lnTo>
                  <a:lnTo>
                    <a:pt x="3498" y="458"/>
                  </a:lnTo>
                  <a:lnTo>
                    <a:pt x="3501" y="473"/>
                  </a:lnTo>
                  <a:lnTo>
                    <a:pt x="3502" y="490"/>
                  </a:lnTo>
                  <a:lnTo>
                    <a:pt x="3505" y="506"/>
                  </a:lnTo>
                  <a:lnTo>
                    <a:pt x="3506" y="523"/>
                  </a:lnTo>
                  <a:lnTo>
                    <a:pt x="3506" y="541"/>
                  </a:lnTo>
                  <a:close/>
                  <a:moveTo>
                    <a:pt x="3126" y="478"/>
                  </a:moveTo>
                  <a:lnTo>
                    <a:pt x="3338" y="478"/>
                  </a:lnTo>
                  <a:lnTo>
                    <a:pt x="3337" y="466"/>
                  </a:lnTo>
                  <a:lnTo>
                    <a:pt x="3335" y="455"/>
                  </a:lnTo>
                  <a:lnTo>
                    <a:pt x="3333" y="445"/>
                  </a:lnTo>
                  <a:lnTo>
                    <a:pt x="3329" y="436"/>
                  </a:lnTo>
                  <a:lnTo>
                    <a:pt x="3325" y="428"/>
                  </a:lnTo>
                  <a:lnTo>
                    <a:pt x="3319" y="420"/>
                  </a:lnTo>
                  <a:lnTo>
                    <a:pt x="3317" y="415"/>
                  </a:lnTo>
                  <a:lnTo>
                    <a:pt x="3314" y="412"/>
                  </a:lnTo>
                  <a:lnTo>
                    <a:pt x="3308" y="405"/>
                  </a:lnTo>
                  <a:lnTo>
                    <a:pt x="3300" y="400"/>
                  </a:lnTo>
                  <a:lnTo>
                    <a:pt x="3293" y="394"/>
                  </a:lnTo>
                  <a:lnTo>
                    <a:pt x="3285" y="390"/>
                  </a:lnTo>
                  <a:lnTo>
                    <a:pt x="3276" y="386"/>
                  </a:lnTo>
                  <a:lnTo>
                    <a:pt x="3267" y="383"/>
                  </a:lnTo>
                  <a:lnTo>
                    <a:pt x="3257" y="382"/>
                  </a:lnTo>
                  <a:lnTo>
                    <a:pt x="3247" y="380"/>
                  </a:lnTo>
                  <a:lnTo>
                    <a:pt x="3237" y="380"/>
                  </a:lnTo>
                  <a:lnTo>
                    <a:pt x="3226" y="380"/>
                  </a:lnTo>
                  <a:lnTo>
                    <a:pt x="3216" y="381"/>
                  </a:lnTo>
                  <a:lnTo>
                    <a:pt x="3206" y="383"/>
                  </a:lnTo>
                  <a:lnTo>
                    <a:pt x="3196" y="385"/>
                  </a:lnTo>
                  <a:lnTo>
                    <a:pt x="3187" y="389"/>
                  </a:lnTo>
                  <a:lnTo>
                    <a:pt x="3178" y="393"/>
                  </a:lnTo>
                  <a:lnTo>
                    <a:pt x="3170" y="398"/>
                  </a:lnTo>
                  <a:lnTo>
                    <a:pt x="3163" y="403"/>
                  </a:lnTo>
                  <a:lnTo>
                    <a:pt x="3156" y="409"/>
                  </a:lnTo>
                  <a:lnTo>
                    <a:pt x="3149" y="416"/>
                  </a:lnTo>
                  <a:lnTo>
                    <a:pt x="3144" y="424"/>
                  </a:lnTo>
                  <a:lnTo>
                    <a:pt x="3139" y="433"/>
                  </a:lnTo>
                  <a:lnTo>
                    <a:pt x="3137" y="438"/>
                  </a:lnTo>
                  <a:lnTo>
                    <a:pt x="3135" y="443"/>
                  </a:lnTo>
                  <a:lnTo>
                    <a:pt x="3131" y="453"/>
                  </a:lnTo>
                  <a:lnTo>
                    <a:pt x="3128" y="465"/>
                  </a:lnTo>
                  <a:lnTo>
                    <a:pt x="3126" y="4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5848634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otes" hidden="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6538" y="6838950"/>
            <a:ext cx="6542087" cy="1524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865" indent="-184865" defTabSz="881022" eaLnBrk="0" fontAlgn="t" hangingPunct="0">
              <a:defRPr/>
            </a:pPr>
            <a:endParaRPr lang="it-IT" sz="1000" b="0" noProof="1">
              <a:solidFill>
                <a:schemeClr val="tx1"/>
              </a:solidFill>
              <a:ea typeface="ヒラギノ角ゴ Pro W3" pitchFamily="84" charset="-128"/>
              <a:cs typeface="+mn-cs"/>
            </a:endParaRPr>
          </a:p>
        </p:txBody>
      </p:sp>
      <p:sp>
        <p:nvSpPr>
          <p:cNvPr id="18" name="Rectangle 19"/>
          <p:cNvSpPr>
            <a:spLocks noChangeArrowheads="1"/>
          </p:cNvSpPr>
          <p:nvPr userDrawn="1"/>
        </p:nvSpPr>
        <p:spPr bwMode="auto">
          <a:xfrm>
            <a:off x="1727200" y="6786563"/>
            <a:ext cx="67738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1" tIns="45706" rIns="91411" bIns="45706">
            <a:spAutoFit/>
          </a:bodyPr>
          <a:lstStyle/>
          <a:p>
            <a:pPr eaLnBrk="0" hangingPunct="0">
              <a:defRPr/>
            </a:pPr>
            <a:r>
              <a:rPr lang="en-US" sz="800" b="0" dirty="0">
                <a:solidFill>
                  <a:srgbClr val="01AEF0"/>
                </a:solidFill>
                <a:ea typeface="ヒラギノ角ゴ Pro W3" pitchFamily="100" charset="-128"/>
                <a:cs typeface="+mn-cs"/>
              </a:rPr>
              <a:t>This information was prepared by EPCG and it is not to be relied on by any 3rd party without EPCG</a:t>
            </a:r>
            <a:fld id="{DC02518D-B4F6-45DF-8FB0-51FBB3553E3F}" type="slidenum">
              <a:rPr lang="en-US" sz="800" b="0">
                <a:solidFill>
                  <a:srgbClr val="01AEF0"/>
                </a:solidFill>
                <a:ea typeface="ヒラギノ角ゴ Pro W3" pitchFamily="100" charset="-128"/>
                <a:cs typeface="+mn-cs"/>
              </a:rPr>
              <a:pPr eaLnBrk="0" hangingPunct="0">
                <a:defRPr/>
              </a:pPr>
              <a:t>‹#›</a:t>
            </a:fld>
            <a:r>
              <a:rPr lang="en-US" sz="800" b="0" dirty="0">
                <a:solidFill>
                  <a:srgbClr val="01AEF0"/>
                </a:solidFill>
                <a:ea typeface="ヒラギノ角ゴ Pro W3" pitchFamily="100" charset="-128"/>
                <a:cs typeface="+mn-cs"/>
              </a:rPr>
              <a:t>’s prior written consent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634" y="4643568"/>
            <a:ext cx="8807371" cy="1435223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8634" y="3062815"/>
            <a:ext cx="8807371" cy="1580753"/>
          </a:xfrm>
        </p:spPr>
        <p:txBody>
          <a:bodyPr anchor="b"/>
          <a:lstStyle>
            <a:lvl1pPr marL="0" indent="0">
              <a:buNone/>
              <a:defRPr sz="2100"/>
            </a:lvl1pPr>
            <a:lvl2pPr marL="479649" indent="0">
              <a:buNone/>
              <a:defRPr sz="1900"/>
            </a:lvl2pPr>
            <a:lvl3pPr marL="959297" indent="0">
              <a:buNone/>
              <a:defRPr sz="1700"/>
            </a:lvl3pPr>
            <a:lvl4pPr marL="1438946" indent="0">
              <a:buNone/>
              <a:defRPr sz="1500"/>
            </a:lvl4pPr>
            <a:lvl5pPr marL="1918594" indent="0">
              <a:buNone/>
              <a:defRPr sz="1500"/>
            </a:lvl5pPr>
            <a:lvl6pPr marL="2398243" indent="0">
              <a:buNone/>
              <a:defRPr sz="1500"/>
            </a:lvl6pPr>
            <a:lvl7pPr marL="2877891" indent="0">
              <a:buNone/>
              <a:defRPr sz="1500"/>
            </a:lvl7pPr>
            <a:lvl8pPr marL="3357540" indent="0">
              <a:buNone/>
              <a:defRPr sz="1500"/>
            </a:lvl8pPr>
            <a:lvl9pPr marL="3837188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7773B7-88D8-49A2-8D45-08D93751420A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" preserve="1" userDrawn="1">
  <p:cSld name="Title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8669060" y="6501387"/>
            <a:ext cx="1408596" cy="602019"/>
            <a:chOff x="10200456" y="6170033"/>
            <a:chExt cx="1657426" cy="571336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10200456" y="6170033"/>
              <a:ext cx="1657426" cy="571336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0361613" cy="72263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6"/>
                </a:move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846199" y="6211926"/>
                </a:lnTo>
                <a:lnTo>
                  <a:pt x="10754785" y="6211926"/>
                </a:lnTo>
                <a:lnTo>
                  <a:pt x="10663510" y="6211926"/>
                </a:lnTo>
                <a:lnTo>
                  <a:pt x="10572095" y="6211926"/>
                </a:lnTo>
                <a:lnTo>
                  <a:pt x="10480540" y="6211926"/>
                </a:lnTo>
                <a:lnTo>
                  <a:pt x="10389125" y="62119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marR="0" indent="0" algn="r" defTabSz="777149" rtl="0" eaLnBrk="1" fontAlgn="auto" latinLnBrk="0" hangingPunct="1">
              <a:lnSpc>
                <a:spcPct val="100000"/>
              </a:lnSpc>
              <a:spcBef>
                <a:spcPts val="68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02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029433"/>
            <a:ext cx="7833271" cy="1365600"/>
          </a:xfrm>
        </p:spPr>
        <p:txBody>
          <a:bodyPr anchor="t" anchorCtr="0"/>
          <a:lstStyle>
            <a:lvl1pPr algn="l">
              <a:defRPr sz="425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479400"/>
            <a:ext cx="7833271" cy="379333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211"/>
            <a:ext cx="1104491" cy="993853"/>
          </a:xfr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7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8206201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ega Picture" preserve="1" userDrawn="1">
  <p:cSld name="Title Slide Nega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/>
          <p:cNvGrpSpPr/>
          <p:nvPr userDrawn="1"/>
        </p:nvGrpSpPr>
        <p:grpSpPr>
          <a:xfrm>
            <a:off x="8669060" y="6501387"/>
            <a:ext cx="1408596" cy="602019"/>
            <a:chOff x="10200456" y="6170033"/>
            <a:chExt cx="1657426" cy="571336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10200456" y="6170033"/>
              <a:ext cx="1657426" cy="571336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  <p:sp>
        <p:nvSpPr>
          <p:cNvPr id="17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0361613" cy="72263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6"/>
                </a:move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846199" y="6211926"/>
                </a:lnTo>
                <a:lnTo>
                  <a:pt x="10754785" y="6211926"/>
                </a:lnTo>
                <a:lnTo>
                  <a:pt x="10663510" y="6211926"/>
                </a:lnTo>
                <a:lnTo>
                  <a:pt x="10572095" y="6211926"/>
                </a:lnTo>
                <a:lnTo>
                  <a:pt x="10480540" y="6211926"/>
                </a:lnTo>
                <a:lnTo>
                  <a:pt x="10389125" y="62119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marR="0" indent="0" algn="r" defTabSz="777149" rtl="0" eaLnBrk="1" fontAlgn="auto" latinLnBrk="0" hangingPunct="1">
              <a:lnSpc>
                <a:spcPct val="100000"/>
              </a:lnSpc>
              <a:spcBef>
                <a:spcPts val="68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02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029433"/>
            <a:ext cx="7833271" cy="1365600"/>
          </a:xfrm>
        </p:spPr>
        <p:txBody>
          <a:bodyPr anchor="t" anchorCtr="0"/>
          <a:lstStyle>
            <a:lvl1pPr algn="l">
              <a:defRPr sz="425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479400"/>
            <a:ext cx="7833271" cy="379333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211"/>
            <a:ext cx="1104491" cy="993853"/>
          </a:xfrm>
          <a:blipFill>
            <a:blip r:embed="rId6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7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0435813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925859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with Subheading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2" y="1564030"/>
            <a:ext cx="9425289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2" y="2171524"/>
            <a:ext cx="9425289" cy="42485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2330532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s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03201" y="1564026"/>
            <a:ext cx="4590251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180807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0755936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2" y="1564030"/>
            <a:ext cx="4590251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2" y="2171524"/>
            <a:ext cx="4590251" cy="42485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03201" y="1564030"/>
            <a:ext cx="4590251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303201" y="2171527"/>
            <a:ext cx="4590251" cy="42485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180807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8867955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3" y="1564030"/>
            <a:ext cx="2999117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3" y="2171239"/>
            <a:ext cx="2999117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712028" y="2171484"/>
            <a:ext cx="2937150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6894382" y="1564466"/>
            <a:ext cx="2998757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712028" y="1564466"/>
            <a:ext cx="2937558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6894382" y="2171484"/>
            <a:ext cx="2998341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589673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6771940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313645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2" preserve="1" userDrawn="1">
  <p:cSld name="Title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303203" y="5"/>
            <a:ext cx="5058412" cy="6420032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8165" y="501826"/>
            <a:ext cx="4590250" cy="7591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7533247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mall Picture" preserve="1" userDrawn="1">
  <p:cSld name="Title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303201" y="1564027"/>
            <a:ext cx="4590251" cy="4856006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9450713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1" preserve="1" userDrawn="1">
  <p:cSld name="Title and 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8163" y="1564027"/>
            <a:ext cx="9425289" cy="4856006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4034095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8007" y="1226129"/>
            <a:ext cx="4583021" cy="4996518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80437" y="1226129"/>
            <a:ext cx="4583021" cy="4996518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1F9DEA-E618-4C74-A0BF-6217E22539BD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1657182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525446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ogan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8163" y="2702654"/>
            <a:ext cx="9425288" cy="1745415"/>
          </a:xfrm>
        </p:spPr>
        <p:txBody>
          <a:bodyPr anchor="ctr" anchorCtr="0"/>
          <a:lstStyle>
            <a:lvl1pPr algn="ctr">
              <a:defRPr sz="42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192668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6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8029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475024"/>
            <a:ext cx="7833271" cy="2276253"/>
          </a:xfrm>
        </p:spPr>
        <p:txBody>
          <a:bodyPr anchor="t" anchorCtr="0"/>
          <a:lstStyle>
            <a:lvl1pPr algn="l">
              <a:defRPr sz="425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564026"/>
            <a:ext cx="7833271" cy="759744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8648541" y="6096570"/>
            <a:ext cx="1346343" cy="962691"/>
            <a:chOff x="10176312" y="5785848"/>
            <a:chExt cx="1584176" cy="913626"/>
          </a:xfrm>
        </p:grpSpPr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0297850" y="6211927"/>
              <a:ext cx="1462638" cy="487547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0176312" y="5785848"/>
              <a:ext cx="730621" cy="426079"/>
            </a:xfrm>
            <a:custGeom>
              <a:avLst/>
              <a:gdLst>
                <a:gd name="T0" fmla="*/ 0 w 5232"/>
                <a:gd name="T1" fmla="*/ 3051 h 3051"/>
                <a:gd name="T2" fmla="*/ 653 w 5232"/>
                <a:gd name="T3" fmla="*/ 3051 h 3051"/>
                <a:gd name="T4" fmla="*/ 1307 w 5232"/>
                <a:gd name="T5" fmla="*/ 3051 h 3051"/>
                <a:gd name="T6" fmla="*/ 1962 w 5232"/>
                <a:gd name="T7" fmla="*/ 3051 h 3051"/>
                <a:gd name="T8" fmla="*/ 2616 w 5232"/>
                <a:gd name="T9" fmla="*/ 3051 h 3051"/>
                <a:gd name="T10" fmla="*/ 3269 w 5232"/>
                <a:gd name="T11" fmla="*/ 3051 h 3051"/>
                <a:gd name="T12" fmla="*/ 3923 w 5232"/>
                <a:gd name="T13" fmla="*/ 3051 h 3051"/>
                <a:gd name="T14" fmla="*/ 4578 w 5232"/>
                <a:gd name="T15" fmla="*/ 3051 h 3051"/>
                <a:gd name="T16" fmla="*/ 5232 w 5232"/>
                <a:gd name="T17" fmla="*/ 3051 h 3051"/>
                <a:gd name="T18" fmla="*/ 5232 w 5232"/>
                <a:gd name="T19" fmla="*/ 2288 h 3051"/>
                <a:gd name="T20" fmla="*/ 5232 w 5232"/>
                <a:gd name="T21" fmla="*/ 1525 h 3051"/>
                <a:gd name="T22" fmla="*/ 5232 w 5232"/>
                <a:gd name="T23" fmla="*/ 762 h 3051"/>
                <a:gd name="T24" fmla="*/ 5232 w 5232"/>
                <a:gd name="T25" fmla="*/ 0 h 3051"/>
                <a:gd name="T26" fmla="*/ 4578 w 5232"/>
                <a:gd name="T27" fmla="*/ 0 h 3051"/>
                <a:gd name="T28" fmla="*/ 3923 w 5232"/>
                <a:gd name="T29" fmla="*/ 0 h 3051"/>
                <a:gd name="T30" fmla="*/ 3269 w 5232"/>
                <a:gd name="T31" fmla="*/ 0 h 3051"/>
                <a:gd name="T32" fmla="*/ 2616 w 5232"/>
                <a:gd name="T33" fmla="*/ 0 h 3051"/>
                <a:gd name="T34" fmla="*/ 1962 w 5232"/>
                <a:gd name="T35" fmla="*/ 0 h 3051"/>
                <a:gd name="T36" fmla="*/ 1307 w 5232"/>
                <a:gd name="T37" fmla="*/ 0 h 3051"/>
                <a:gd name="T38" fmla="*/ 653 w 5232"/>
                <a:gd name="T39" fmla="*/ 0 h 3051"/>
                <a:gd name="T40" fmla="*/ 0 w 5232"/>
                <a:gd name="T41" fmla="*/ 0 h 3051"/>
                <a:gd name="T42" fmla="*/ 0 w 5232"/>
                <a:gd name="T43" fmla="*/ 762 h 3051"/>
                <a:gd name="T44" fmla="*/ 0 w 5232"/>
                <a:gd name="T45" fmla="*/ 1525 h 3051"/>
                <a:gd name="T46" fmla="*/ 0 w 5232"/>
                <a:gd name="T47" fmla="*/ 2288 h 3051"/>
                <a:gd name="T48" fmla="*/ 0 w 5232"/>
                <a:gd name="T49" fmla="*/ 3051 h 3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32" h="3051">
                  <a:moveTo>
                    <a:pt x="0" y="3051"/>
                  </a:moveTo>
                  <a:lnTo>
                    <a:pt x="653" y="3051"/>
                  </a:lnTo>
                  <a:lnTo>
                    <a:pt x="1307" y="3051"/>
                  </a:lnTo>
                  <a:lnTo>
                    <a:pt x="1962" y="3051"/>
                  </a:lnTo>
                  <a:lnTo>
                    <a:pt x="2616" y="3051"/>
                  </a:lnTo>
                  <a:lnTo>
                    <a:pt x="3269" y="3051"/>
                  </a:lnTo>
                  <a:lnTo>
                    <a:pt x="3923" y="3051"/>
                  </a:lnTo>
                  <a:lnTo>
                    <a:pt x="4578" y="3051"/>
                  </a:lnTo>
                  <a:lnTo>
                    <a:pt x="5232" y="3051"/>
                  </a:lnTo>
                  <a:lnTo>
                    <a:pt x="5232" y="2288"/>
                  </a:lnTo>
                  <a:lnTo>
                    <a:pt x="5232" y="1525"/>
                  </a:lnTo>
                  <a:lnTo>
                    <a:pt x="5232" y="762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762"/>
                  </a:lnTo>
                  <a:lnTo>
                    <a:pt x="0" y="1525"/>
                  </a:lnTo>
                  <a:lnTo>
                    <a:pt x="0" y="2288"/>
                  </a:lnTo>
                  <a:lnTo>
                    <a:pt x="0" y="3051"/>
                  </a:lnTo>
                  <a:close/>
                </a:path>
              </a:pathLst>
            </a:custGeom>
            <a:solidFill>
              <a:srgbClr val="377A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10293658" y="5873858"/>
              <a:ext cx="491737" cy="272412"/>
            </a:xfrm>
            <a:custGeom>
              <a:avLst/>
              <a:gdLst>
                <a:gd name="T0" fmla="*/ 278 w 3517"/>
                <a:gd name="T1" fmla="*/ 1564 h 1954"/>
                <a:gd name="T2" fmla="*/ 190 w 3517"/>
                <a:gd name="T3" fmla="*/ 1377 h 1954"/>
                <a:gd name="T4" fmla="*/ 466 w 3517"/>
                <a:gd name="T5" fmla="*/ 1198 h 1954"/>
                <a:gd name="T6" fmla="*/ 105 w 3517"/>
                <a:gd name="T7" fmla="*/ 1218 h 1954"/>
                <a:gd name="T8" fmla="*/ 22 w 3517"/>
                <a:gd name="T9" fmla="*/ 1558 h 1954"/>
                <a:gd name="T10" fmla="*/ 508 w 3517"/>
                <a:gd name="T11" fmla="*/ 903 h 1954"/>
                <a:gd name="T12" fmla="*/ 824 w 3517"/>
                <a:gd name="T13" fmla="*/ 1318 h 1954"/>
                <a:gd name="T14" fmla="*/ 1034 w 3517"/>
                <a:gd name="T15" fmla="*/ 1269 h 1954"/>
                <a:gd name="T16" fmla="*/ 800 w 3517"/>
                <a:gd name="T17" fmla="*/ 1165 h 1954"/>
                <a:gd name="T18" fmla="*/ 1476 w 3517"/>
                <a:gd name="T19" fmla="*/ 1679 h 1954"/>
                <a:gd name="T20" fmla="*/ 1372 w 3517"/>
                <a:gd name="T21" fmla="*/ 1161 h 1954"/>
                <a:gd name="T22" fmla="*/ 1104 w 3517"/>
                <a:gd name="T23" fmla="*/ 1333 h 1954"/>
                <a:gd name="T24" fmla="*/ 1201 w 3517"/>
                <a:gd name="T25" fmla="*/ 1684 h 1954"/>
                <a:gd name="T26" fmla="*/ 1288 w 3517"/>
                <a:gd name="T27" fmla="*/ 1514 h 1954"/>
                <a:gd name="T28" fmla="*/ 1370 w 3517"/>
                <a:gd name="T29" fmla="*/ 1318 h 1954"/>
                <a:gd name="T30" fmla="*/ 1506 w 3517"/>
                <a:gd name="T31" fmla="*/ 1482 h 1954"/>
                <a:gd name="T32" fmla="*/ 1977 w 3517"/>
                <a:gd name="T33" fmla="*/ 1198 h 1954"/>
                <a:gd name="T34" fmla="*/ 1980 w 3517"/>
                <a:gd name="T35" fmla="*/ 1323 h 1954"/>
                <a:gd name="T36" fmla="*/ 2300 w 3517"/>
                <a:gd name="T37" fmla="*/ 1364 h 1954"/>
                <a:gd name="T38" fmla="*/ 2142 w 3517"/>
                <a:gd name="T39" fmla="*/ 1162 h 1954"/>
                <a:gd name="T40" fmla="*/ 2902 w 3517"/>
                <a:gd name="T41" fmla="*/ 1848 h 1954"/>
                <a:gd name="T42" fmla="*/ 2659 w 3517"/>
                <a:gd name="T43" fmla="*/ 1168 h 1954"/>
                <a:gd name="T44" fmla="*/ 2361 w 3517"/>
                <a:gd name="T45" fmla="*/ 1305 h 1954"/>
                <a:gd name="T46" fmla="*/ 2418 w 3517"/>
                <a:gd name="T47" fmla="*/ 1656 h 1954"/>
                <a:gd name="T48" fmla="*/ 2734 w 3517"/>
                <a:gd name="T49" fmla="*/ 1666 h 1954"/>
                <a:gd name="T50" fmla="*/ 2605 w 3517"/>
                <a:gd name="T51" fmla="*/ 1790 h 1954"/>
                <a:gd name="T52" fmla="*/ 2549 w 3517"/>
                <a:gd name="T53" fmla="*/ 1532 h 1954"/>
                <a:gd name="T54" fmla="*/ 2599 w 3517"/>
                <a:gd name="T55" fmla="*/ 1323 h 1954"/>
                <a:gd name="T56" fmla="*/ 2756 w 3517"/>
                <a:gd name="T57" fmla="*/ 1468 h 1954"/>
                <a:gd name="T58" fmla="*/ 3141 w 3517"/>
                <a:gd name="T59" fmla="*/ 1179 h 1954"/>
                <a:gd name="T60" fmla="*/ 2975 w 3517"/>
                <a:gd name="T61" fmla="*/ 1475 h 1954"/>
                <a:gd name="T62" fmla="*/ 3206 w 3517"/>
                <a:gd name="T63" fmla="*/ 1719 h 1954"/>
                <a:gd name="T64" fmla="*/ 3308 w 3517"/>
                <a:gd name="T65" fmla="*/ 1577 h 1954"/>
                <a:gd name="T66" fmla="*/ 3512 w 3517"/>
                <a:gd name="T67" fmla="*/ 1376 h 1954"/>
                <a:gd name="T68" fmla="*/ 3284 w 3517"/>
                <a:gd name="T69" fmla="*/ 1161 h 1954"/>
                <a:gd name="T70" fmla="*/ 3150 w 3517"/>
                <a:gd name="T71" fmla="*/ 1336 h 1954"/>
                <a:gd name="T72" fmla="*/ 253 w 3517"/>
                <a:gd name="T73" fmla="*/ 744 h 1954"/>
                <a:gd name="T74" fmla="*/ 99 w 3517"/>
                <a:gd name="T75" fmla="*/ 630 h 1954"/>
                <a:gd name="T76" fmla="*/ 854 w 3517"/>
                <a:gd name="T77" fmla="*/ 734 h 1954"/>
                <a:gd name="T78" fmla="*/ 486 w 3517"/>
                <a:gd name="T79" fmla="*/ 790 h 1954"/>
                <a:gd name="T80" fmla="*/ 341 w 3517"/>
                <a:gd name="T81" fmla="*/ 463 h 1954"/>
                <a:gd name="T82" fmla="*/ 630 w 3517"/>
                <a:gd name="T83" fmla="*/ 255 h 1954"/>
                <a:gd name="T84" fmla="*/ 920 w 3517"/>
                <a:gd name="T85" fmla="*/ 463 h 1954"/>
                <a:gd name="T86" fmla="*/ 643 w 3517"/>
                <a:gd name="T87" fmla="*/ 662 h 1954"/>
                <a:gd name="T88" fmla="*/ 733 w 3517"/>
                <a:gd name="T89" fmla="*/ 465 h 1954"/>
                <a:gd name="T90" fmla="*/ 516 w 3517"/>
                <a:gd name="T91" fmla="*/ 488 h 1954"/>
                <a:gd name="T92" fmla="*/ 1555 w 3517"/>
                <a:gd name="T93" fmla="*/ 440 h 1954"/>
                <a:gd name="T94" fmla="*/ 1383 w 3517"/>
                <a:gd name="T95" fmla="*/ 484 h 1954"/>
                <a:gd name="T96" fmla="*/ 1550 w 3517"/>
                <a:gd name="T97" fmla="*/ 255 h 1954"/>
                <a:gd name="T98" fmla="*/ 1745 w 3517"/>
                <a:gd name="T99" fmla="*/ 422 h 1954"/>
                <a:gd name="T100" fmla="*/ 2184 w 3517"/>
                <a:gd name="T101" fmla="*/ 799 h 1954"/>
                <a:gd name="T102" fmla="*/ 2062 w 3517"/>
                <a:gd name="T103" fmla="*/ 60 h 1954"/>
                <a:gd name="T104" fmla="*/ 2760 w 3517"/>
                <a:gd name="T105" fmla="*/ 258 h 1954"/>
                <a:gd name="T106" fmla="*/ 2927 w 3517"/>
                <a:gd name="T107" fmla="*/ 448 h 1954"/>
                <a:gd name="T108" fmla="*/ 2627 w 3517"/>
                <a:gd name="T109" fmla="*/ 412 h 1954"/>
                <a:gd name="T110" fmla="*/ 3128 w 3517"/>
                <a:gd name="T111" fmla="*/ 592 h 1954"/>
                <a:gd name="T112" fmla="*/ 3386 w 3517"/>
                <a:gd name="T113" fmla="*/ 645 h 1954"/>
                <a:gd name="T114" fmla="*/ 3124 w 3517"/>
                <a:gd name="T115" fmla="*/ 796 h 1954"/>
                <a:gd name="T116" fmla="*/ 2965 w 3517"/>
                <a:gd name="T117" fmla="*/ 492 h 1954"/>
                <a:gd name="T118" fmla="*/ 3213 w 3517"/>
                <a:gd name="T119" fmla="*/ 258 h 1954"/>
                <a:gd name="T120" fmla="*/ 3483 w 3517"/>
                <a:gd name="T121" fmla="*/ 402 h 1954"/>
                <a:gd name="T122" fmla="*/ 3257 w 3517"/>
                <a:gd name="T123" fmla="*/ 38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17" h="1954">
                  <a:moveTo>
                    <a:pt x="296" y="1724"/>
                  </a:moveTo>
                  <a:lnTo>
                    <a:pt x="309" y="1724"/>
                  </a:lnTo>
                  <a:lnTo>
                    <a:pt x="322" y="1724"/>
                  </a:lnTo>
                  <a:lnTo>
                    <a:pt x="336" y="1723"/>
                  </a:lnTo>
                  <a:lnTo>
                    <a:pt x="349" y="1720"/>
                  </a:lnTo>
                  <a:lnTo>
                    <a:pt x="361" y="1719"/>
                  </a:lnTo>
                  <a:lnTo>
                    <a:pt x="373" y="1717"/>
                  </a:lnTo>
                  <a:lnTo>
                    <a:pt x="398" y="1710"/>
                  </a:lnTo>
                  <a:lnTo>
                    <a:pt x="421" y="1704"/>
                  </a:lnTo>
                  <a:lnTo>
                    <a:pt x="432" y="1699"/>
                  </a:lnTo>
                  <a:lnTo>
                    <a:pt x="443" y="1695"/>
                  </a:lnTo>
                  <a:lnTo>
                    <a:pt x="466" y="1684"/>
                  </a:lnTo>
                  <a:lnTo>
                    <a:pt x="487" y="1673"/>
                  </a:lnTo>
                  <a:lnTo>
                    <a:pt x="416" y="1534"/>
                  </a:lnTo>
                  <a:lnTo>
                    <a:pt x="403" y="1540"/>
                  </a:lnTo>
                  <a:lnTo>
                    <a:pt x="391" y="1547"/>
                  </a:lnTo>
                  <a:lnTo>
                    <a:pt x="379" y="1553"/>
                  </a:lnTo>
                  <a:lnTo>
                    <a:pt x="372" y="1555"/>
                  </a:lnTo>
                  <a:lnTo>
                    <a:pt x="366" y="1557"/>
                  </a:lnTo>
                  <a:lnTo>
                    <a:pt x="351" y="1560"/>
                  </a:lnTo>
                  <a:lnTo>
                    <a:pt x="343" y="1563"/>
                  </a:lnTo>
                  <a:lnTo>
                    <a:pt x="336" y="1564"/>
                  </a:lnTo>
                  <a:lnTo>
                    <a:pt x="328" y="1565"/>
                  </a:lnTo>
                  <a:lnTo>
                    <a:pt x="320" y="1565"/>
                  </a:lnTo>
                  <a:lnTo>
                    <a:pt x="303" y="1566"/>
                  </a:lnTo>
                  <a:lnTo>
                    <a:pt x="290" y="1565"/>
                  </a:lnTo>
                  <a:lnTo>
                    <a:pt x="278" y="1564"/>
                  </a:lnTo>
                  <a:lnTo>
                    <a:pt x="266" y="1560"/>
                  </a:lnTo>
                  <a:lnTo>
                    <a:pt x="253" y="1557"/>
                  </a:lnTo>
                  <a:lnTo>
                    <a:pt x="242" y="1553"/>
                  </a:lnTo>
                  <a:lnTo>
                    <a:pt x="232" y="1547"/>
                  </a:lnTo>
                  <a:lnTo>
                    <a:pt x="222" y="1540"/>
                  </a:lnTo>
                  <a:lnTo>
                    <a:pt x="217" y="1537"/>
                  </a:lnTo>
                  <a:lnTo>
                    <a:pt x="212" y="1534"/>
                  </a:lnTo>
                  <a:lnTo>
                    <a:pt x="203" y="1525"/>
                  </a:lnTo>
                  <a:lnTo>
                    <a:pt x="197" y="1516"/>
                  </a:lnTo>
                  <a:lnTo>
                    <a:pt x="192" y="1510"/>
                  </a:lnTo>
                  <a:lnTo>
                    <a:pt x="190" y="1505"/>
                  </a:lnTo>
                  <a:lnTo>
                    <a:pt x="183" y="1495"/>
                  </a:lnTo>
                  <a:lnTo>
                    <a:pt x="181" y="1488"/>
                  </a:lnTo>
                  <a:lnTo>
                    <a:pt x="179" y="1483"/>
                  </a:lnTo>
                  <a:lnTo>
                    <a:pt x="178" y="1476"/>
                  </a:lnTo>
                  <a:lnTo>
                    <a:pt x="176" y="1469"/>
                  </a:lnTo>
                  <a:lnTo>
                    <a:pt x="175" y="1463"/>
                  </a:lnTo>
                  <a:lnTo>
                    <a:pt x="175" y="1456"/>
                  </a:lnTo>
                  <a:lnTo>
                    <a:pt x="173" y="1449"/>
                  </a:lnTo>
                  <a:lnTo>
                    <a:pt x="173" y="1442"/>
                  </a:lnTo>
                  <a:lnTo>
                    <a:pt x="173" y="1434"/>
                  </a:lnTo>
                  <a:lnTo>
                    <a:pt x="175" y="1427"/>
                  </a:lnTo>
                  <a:lnTo>
                    <a:pt x="176" y="1414"/>
                  </a:lnTo>
                  <a:lnTo>
                    <a:pt x="178" y="1407"/>
                  </a:lnTo>
                  <a:lnTo>
                    <a:pt x="179" y="1401"/>
                  </a:lnTo>
                  <a:lnTo>
                    <a:pt x="183" y="1388"/>
                  </a:lnTo>
                  <a:lnTo>
                    <a:pt x="190" y="1377"/>
                  </a:lnTo>
                  <a:lnTo>
                    <a:pt x="192" y="1373"/>
                  </a:lnTo>
                  <a:lnTo>
                    <a:pt x="197" y="1367"/>
                  </a:lnTo>
                  <a:lnTo>
                    <a:pt x="200" y="1363"/>
                  </a:lnTo>
                  <a:lnTo>
                    <a:pt x="203" y="1358"/>
                  </a:lnTo>
                  <a:lnTo>
                    <a:pt x="208" y="1354"/>
                  </a:lnTo>
                  <a:lnTo>
                    <a:pt x="212" y="1349"/>
                  </a:lnTo>
                  <a:lnTo>
                    <a:pt x="222" y="1343"/>
                  </a:lnTo>
                  <a:lnTo>
                    <a:pt x="232" y="1336"/>
                  </a:lnTo>
                  <a:lnTo>
                    <a:pt x="242" y="1331"/>
                  </a:lnTo>
                  <a:lnTo>
                    <a:pt x="248" y="1328"/>
                  </a:lnTo>
                  <a:lnTo>
                    <a:pt x="253" y="1326"/>
                  </a:lnTo>
                  <a:lnTo>
                    <a:pt x="266" y="1322"/>
                  </a:lnTo>
                  <a:lnTo>
                    <a:pt x="271" y="1321"/>
                  </a:lnTo>
                  <a:lnTo>
                    <a:pt x="278" y="1319"/>
                  </a:lnTo>
                  <a:lnTo>
                    <a:pt x="290" y="1318"/>
                  </a:lnTo>
                  <a:lnTo>
                    <a:pt x="303" y="1317"/>
                  </a:lnTo>
                  <a:lnTo>
                    <a:pt x="320" y="1318"/>
                  </a:lnTo>
                  <a:lnTo>
                    <a:pt x="328" y="1318"/>
                  </a:lnTo>
                  <a:lnTo>
                    <a:pt x="336" y="1319"/>
                  </a:lnTo>
                  <a:lnTo>
                    <a:pt x="351" y="1322"/>
                  </a:lnTo>
                  <a:lnTo>
                    <a:pt x="366" y="1326"/>
                  </a:lnTo>
                  <a:lnTo>
                    <a:pt x="379" y="1331"/>
                  </a:lnTo>
                  <a:lnTo>
                    <a:pt x="391" y="1336"/>
                  </a:lnTo>
                  <a:lnTo>
                    <a:pt x="403" y="1343"/>
                  </a:lnTo>
                  <a:lnTo>
                    <a:pt x="416" y="1349"/>
                  </a:lnTo>
                  <a:lnTo>
                    <a:pt x="487" y="1211"/>
                  </a:lnTo>
                  <a:lnTo>
                    <a:pt x="466" y="1198"/>
                  </a:lnTo>
                  <a:lnTo>
                    <a:pt x="443" y="1188"/>
                  </a:lnTo>
                  <a:lnTo>
                    <a:pt x="432" y="1184"/>
                  </a:lnTo>
                  <a:lnTo>
                    <a:pt x="421" y="1179"/>
                  </a:lnTo>
                  <a:lnTo>
                    <a:pt x="409" y="1176"/>
                  </a:lnTo>
                  <a:lnTo>
                    <a:pt x="398" y="1172"/>
                  </a:lnTo>
                  <a:lnTo>
                    <a:pt x="386" y="1169"/>
                  </a:lnTo>
                  <a:lnTo>
                    <a:pt x="373" y="1166"/>
                  </a:lnTo>
                  <a:lnTo>
                    <a:pt x="361" y="1164"/>
                  </a:lnTo>
                  <a:lnTo>
                    <a:pt x="349" y="1163"/>
                  </a:lnTo>
                  <a:lnTo>
                    <a:pt x="336" y="1161"/>
                  </a:lnTo>
                  <a:lnTo>
                    <a:pt x="322" y="1160"/>
                  </a:lnTo>
                  <a:lnTo>
                    <a:pt x="296" y="1158"/>
                  </a:lnTo>
                  <a:lnTo>
                    <a:pt x="279" y="1160"/>
                  </a:lnTo>
                  <a:lnTo>
                    <a:pt x="263" y="1161"/>
                  </a:lnTo>
                  <a:lnTo>
                    <a:pt x="249" y="1162"/>
                  </a:lnTo>
                  <a:lnTo>
                    <a:pt x="233" y="1164"/>
                  </a:lnTo>
                  <a:lnTo>
                    <a:pt x="219" y="1167"/>
                  </a:lnTo>
                  <a:lnTo>
                    <a:pt x="205" y="1171"/>
                  </a:lnTo>
                  <a:lnTo>
                    <a:pt x="198" y="1172"/>
                  </a:lnTo>
                  <a:lnTo>
                    <a:pt x="191" y="1174"/>
                  </a:lnTo>
                  <a:lnTo>
                    <a:pt x="177" y="1179"/>
                  </a:lnTo>
                  <a:lnTo>
                    <a:pt x="165" y="1184"/>
                  </a:lnTo>
                  <a:lnTo>
                    <a:pt x="151" y="1189"/>
                  </a:lnTo>
                  <a:lnTo>
                    <a:pt x="139" y="1196"/>
                  </a:lnTo>
                  <a:lnTo>
                    <a:pt x="127" y="1203"/>
                  </a:lnTo>
                  <a:lnTo>
                    <a:pt x="116" y="1211"/>
                  </a:lnTo>
                  <a:lnTo>
                    <a:pt x="105" y="1218"/>
                  </a:lnTo>
                  <a:lnTo>
                    <a:pt x="94" y="1227"/>
                  </a:lnTo>
                  <a:lnTo>
                    <a:pt x="84" y="1236"/>
                  </a:lnTo>
                  <a:lnTo>
                    <a:pt x="75" y="1245"/>
                  </a:lnTo>
                  <a:lnTo>
                    <a:pt x="65" y="1255"/>
                  </a:lnTo>
                  <a:lnTo>
                    <a:pt x="57" y="1266"/>
                  </a:lnTo>
                  <a:lnTo>
                    <a:pt x="48" y="1277"/>
                  </a:lnTo>
                  <a:lnTo>
                    <a:pt x="41" y="1288"/>
                  </a:lnTo>
                  <a:lnTo>
                    <a:pt x="35" y="1301"/>
                  </a:lnTo>
                  <a:lnTo>
                    <a:pt x="28" y="1313"/>
                  </a:lnTo>
                  <a:lnTo>
                    <a:pt x="22" y="1325"/>
                  </a:lnTo>
                  <a:lnTo>
                    <a:pt x="17" y="1338"/>
                  </a:lnTo>
                  <a:lnTo>
                    <a:pt x="12" y="1352"/>
                  </a:lnTo>
                  <a:lnTo>
                    <a:pt x="9" y="1366"/>
                  </a:lnTo>
                  <a:lnTo>
                    <a:pt x="6" y="1381"/>
                  </a:lnTo>
                  <a:lnTo>
                    <a:pt x="4" y="1395"/>
                  </a:lnTo>
                  <a:lnTo>
                    <a:pt x="2" y="1403"/>
                  </a:lnTo>
                  <a:lnTo>
                    <a:pt x="1" y="1411"/>
                  </a:lnTo>
                  <a:lnTo>
                    <a:pt x="0" y="1426"/>
                  </a:lnTo>
                  <a:lnTo>
                    <a:pt x="0" y="1442"/>
                  </a:lnTo>
                  <a:lnTo>
                    <a:pt x="0" y="1457"/>
                  </a:lnTo>
                  <a:lnTo>
                    <a:pt x="1" y="1473"/>
                  </a:lnTo>
                  <a:lnTo>
                    <a:pt x="4" y="1488"/>
                  </a:lnTo>
                  <a:lnTo>
                    <a:pt x="6" y="1503"/>
                  </a:lnTo>
                  <a:lnTo>
                    <a:pt x="9" y="1517"/>
                  </a:lnTo>
                  <a:lnTo>
                    <a:pt x="12" y="1532"/>
                  </a:lnTo>
                  <a:lnTo>
                    <a:pt x="17" y="1545"/>
                  </a:lnTo>
                  <a:lnTo>
                    <a:pt x="22" y="1558"/>
                  </a:lnTo>
                  <a:lnTo>
                    <a:pt x="25" y="1565"/>
                  </a:lnTo>
                  <a:lnTo>
                    <a:pt x="28" y="1570"/>
                  </a:lnTo>
                  <a:lnTo>
                    <a:pt x="35" y="1583"/>
                  </a:lnTo>
                  <a:lnTo>
                    <a:pt x="41" y="1595"/>
                  </a:lnTo>
                  <a:lnTo>
                    <a:pt x="48" y="1606"/>
                  </a:lnTo>
                  <a:lnTo>
                    <a:pt x="57" y="1617"/>
                  </a:lnTo>
                  <a:lnTo>
                    <a:pt x="65" y="1627"/>
                  </a:lnTo>
                  <a:lnTo>
                    <a:pt x="75" y="1637"/>
                  </a:lnTo>
                  <a:lnTo>
                    <a:pt x="84" y="1647"/>
                  </a:lnTo>
                  <a:lnTo>
                    <a:pt x="94" y="1656"/>
                  </a:lnTo>
                  <a:lnTo>
                    <a:pt x="105" y="1665"/>
                  </a:lnTo>
                  <a:lnTo>
                    <a:pt x="116" y="1673"/>
                  </a:lnTo>
                  <a:lnTo>
                    <a:pt x="127" y="1680"/>
                  </a:lnTo>
                  <a:lnTo>
                    <a:pt x="139" y="1687"/>
                  </a:lnTo>
                  <a:lnTo>
                    <a:pt x="151" y="1693"/>
                  </a:lnTo>
                  <a:lnTo>
                    <a:pt x="165" y="1699"/>
                  </a:lnTo>
                  <a:lnTo>
                    <a:pt x="177" y="1704"/>
                  </a:lnTo>
                  <a:lnTo>
                    <a:pt x="191" y="1708"/>
                  </a:lnTo>
                  <a:lnTo>
                    <a:pt x="205" y="1713"/>
                  </a:lnTo>
                  <a:lnTo>
                    <a:pt x="219" y="1716"/>
                  </a:lnTo>
                  <a:lnTo>
                    <a:pt x="233" y="1719"/>
                  </a:lnTo>
                  <a:lnTo>
                    <a:pt x="249" y="1722"/>
                  </a:lnTo>
                  <a:lnTo>
                    <a:pt x="263" y="1723"/>
                  </a:lnTo>
                  <a:lnTo>
                    <a:pt x="279" y="1724"/>
                  </a:lnTo>
                  <a:lnTo>
                    <a:pt x="296" y="1724"/>
                  </a:lnTo>
                  <a:close/>
                  <a:moveTo>
                    <a:pt x="681" y="903"/>
                  </a:moveTo>
                  <a:lnTo>
                    <a:pt x="508" y="903"/>
                  </a:lnTo>
                  <a:lnTo>
                    <a:pt x="508" y="1707"/>
                  </a:lnTo>
                  <a:lnTo>
                    <a:pt x="681" y="1707"/>
                  </a:lnTo>
                  <a:lnTo>
                    <a:pt x="681" y="1441"/>
                  </a:lnTo>
                  <a:lnTo>
                    <a:pt x="681" y="1424"/>
                  </a:lnTo>
                  <a:lnTo>
                    <a:pt x="683" y="1408"/>
                  </a:lnTo>
                  <a:lnTo>
                    <a:pt x="684" y="1401"/>
                  </a:lnTo>
                  <a:lnTo>
                    <a:pt x="686" y="1394"/>
                  </a:lnTo>
                  <a:lnTo>
                    <a:pt x="687" y="1387"/>
                  </a:lnTo>
                  <a:lnTo>
                    <a:pt x="689" y="1381"/>
                  </a:lnTo>
                  <a:lnTo>
                    <a:pt x="693" y="1368"/>
                  </a:lnTo>
                  <a:lnTo>
                    <a:pt x="698" y="1358"/>
                  </a:lnTo>
                  <a:lnTo>
                    <a:pt x="701" y="1354"/>
                  </a:lnTo>
                  <a:lnTo>
                    <a:pt x="703" y="1349"/>
                  </a:lnTo>
                  <a:lnTo>
                    <a:pt x="707" y="1345"/>
                  </a:lnTo>
                  <a:lnTo>
                    <a:pt x="710" y="1341"/>
                  </a:lnTo>
                  <a:lnTo>
                    <a:pt x="718" y="1334"/>
                  </a:lnTo>
                  <a:lnTo>
                    <a:pt x="726" y="1327"/>
                  </a:lnTo>
                  <a:lnTo>
                    <a:pt x="733" y="1323"/>
                  </a:lnTo>
                  <a:lnTo>
                    <a:pt x="742" y="1318"/>
                  </a:lnTo>
                  <a:lnTo>
                    <a:pt x="752" y="1315"/>
                  </a:lnTo>
                  <a:lnTo>
                    <a:pt x="762" y="1314"/>
                  </a:lnTo>
                  <a:lnTo>
                    <a:pt x="772" y="1312"/>
                  </a:lnTo>
                  <a:lnTo>
                    <a:pt x="783" y="1312"/>
                  </a:lnTo>
                  <a:lnTo>
                    <a:pt x="794" y="1312"/>
                  </a:lnTo>
                  <a:lnTo>
                    <a:pt x="806" y="1314"/>
                  </a:lnTo>
                  <a:lnTo>
                    <a:pt x="816" y="1315"/>
                  </a:lnTo>
                  <a:lnTo>
                    <a:pt x="824" y="1318"/>
                  </a:lnTo>
                  <a:lnTo>
                    <a:pt x="833" y="1323"/>
                  </a:lnTo>
                  <a:lnTo>
                    <a:pt x="841" y="1327"/>
                  </a:lnTo>
                  <a:lnTo>
                    <a:pt x="849" y="1333"/>
                  </a:lnTo>
                  <a:lnTo>
                    <a:pt x="852" y="1336"/>
                  </a:lnTo>
                  <a:lnTo>
                    <a:pt x="856" y="1339"/>
                  </a:lnTo>
                  <a:lnTo>
                    <a:pt x="861" y="1347"/>
                  </a:lnTo>
                  <a:lnTo>
                    <a:pt x="865" y="1355"/>
                  </a:lnTo>
                  <a:lnTo>
                    <a:pt x="868" y="1361"/>
                  </a:lnTo>
                  <a:lnTo>
                    <a:pt x="870" y="1365"/>
                  </a:lnTo>
                  <a:lnTo>
                    <a:pt x="872" y="1369"/>
                  </a:lnTo>
                  <a:lnTo>
                    <a:pt x="873" y="1375"/>
                  </a:lnTo>
                  <a:lnTo>
                    <a:pt x="877" y="1386"/>
                  </a:lnTo>
                  <a:lnTo>
                    <a:pt x="878" y="1399"/>
                  </a:lnTo>
                  <a:lnTo>
                    <a:pt x="879" y="1413"/>
                  </a:lnTo>
                  <a:lnTo>
                    <a:pt x="880" y="1426"/>
                  </a:lnTo>
                  <a:lnTo>
                    <a:pt x="880" y="1707"/>
                  </a:lnTo>
                  <a:lnTo>
                    <a:pt x="1053" y="1707"/>
                  </a:lnTo>
                  <a:lnTo>
                    <a:pt x="1053" y="1378"/>
                  </a:lnTo>
                  <a:lnTo>
                    <a:pt x="1053" y="1364"/>
                  </a:lnTo>
                  <a:lnTo>
                    <a:pt x="1052" y="1351"/>
                  </a:lnTo>
                  <a:lnTo>
                    <a:pt x="1051" y="1338"/>
                  </a:lnTo>
                  <a:lnTo>
                    <a:pt x="1050" y="1325"/>
                  </a:lnTo>
                  <a:lnTo>
                    <a:pt x="1048" y="1314"/>
                  </a:lnTo>
                  <a:lnTo>
                    <a:pt x="1044" y="1302"/>
                  </a:lnTo>
                  <a:lnTo>
                    <a:pt x="1042" y="1291"/>
                  </a:lnTo>
                  <a:lnTo>
                    <a:pt x="1039" y="1281"/>
                  </a:lnTo>
                  <a:lnTo>
                    <a:pt x="1034" y="1269"/>
                  </a:lnTo>
                  <a:lnTo>
                    <a:pt x="1031" y="1261"/>
                  </a:lnTo>
                  <a:lnTo>
                    <a:pt x="1025" y="1251"/>
                  </a:lnTo>
                  <a:lnTo>
                    <a:pt x="1021" y="1243"/>
                  </a:lnTo>
                  <a:lnTo>
                    <a:pt x="1015" y="1234"/>
                  </a:lnTo>
                  <a:lnTo>
                    <a:pt x="1010" y="1226"/>
                  </a:lnTo>
                  <a:lnTo>
                    <a:pt x="1003" y="1218"/>
                  </a:lnTo>
                  <a:lnTo>
                    <a:pt x="998" y="1212"/>
                  </a:lnTo>
                  <a:lnTo>
                    <a:pt x="990" y="1205"/>
                  </a:lnTo>
                  <a:lnTo>
                    <a:pt x="983" y="1199"/>
                  </a:lnTo>
                  <a:lnTo>
                    <a:pt x="975" y="1194"/>
                  </a:lnTo>
                  <a:lnTo>
                    <a:pt x="968" y="1188"/>
                  </a:lnTo>
                  <a:lnTo>
                    <a:pt x="960" y="1184"/>
                  </a:lnTo>
                  <a:lnTo>
                    <a:pt x="952" y="1179"/>
                  </a:lnTo>
                  <a:lnTo>
                    <a:pt x="943" y="1175"/>
                  </a:lnTo>
                  <a:lnTo>
                    <a:pt x="934" y="1172"/>
                  </a:lnTo>
                  <a:lnTo>
                    <a:pt x="924" y="1168"/>
                  </a:lnTo>
                  <a:lnTo>
                    <a:pt x="915" y="1166"/>
                  </a:lnTo>
                  <a:lnTo>
                    <a:pt x="905" y="1164"/>
                  </a:lnTo>
                  <a:lnTo>
                    <a:pt x="895" y="1162"/>
                  </a:lnTo>
                  <a:lnTo>
                    <a:pt x="885" y="1161"/>
                  </a:lnTo>
                  <a:lnTo>
                    <a:pt x="874" y="1160"/>
                  </a:lnTo>
                  <a:lnTo>
                    <a:pt x="864" y="1160"/>
                  </a:lnTo>
                  <a:lnTo>
                    <a:pt x="853" y="1158"/>
                  </a:lnTo>
                  <a:lnTo>
                    <a:pt x="839" y="1160"/>
                  </a:lnTo>
                  <a:lnTo>
                    <a:pt x="826" y="1161"/>
                  </a:lnTo>
                  <a:lnTo>
                    <a:pt x="812" y="1162"/>
                  </a:lnTo>
                  <a:lnTo>
                    <a:pt x="800" y="1165"/>
                  </a:lnTo>
                  <a:lnTo>
                    <a:pt x="788" y="1167"/>
                  </a:lnTo>
                  <a:lnTo>
                    <a:pt x="776" y="1172"/>
                  </a:lnTo>
                  <a:lnTo>
                    <a:pt x="764" y="1176"/>
                  </a:lnTo>
                  <a:lnTo>
                    <a:pt x="753" y="1182"/>
                  </a:lnTo>
                  <a:lnTo>
                    <a:pt x="743" y="1187"/>
                  </a:lnTo>
                  <a:lnTo>
                    <a:pt x="733" y="1194"/>
                  </a:lnTo>
                  <a:lnTo>
                    <a:pt x="723" y="1201"/>
                  </a:lnTo>
                  <a:lnTo>
                    <a:pt x="714" y="1208"/>
                  </a:lnTo>
                  <a:lnTo>
                    <a:pt x="706" y="1217"/>
                  </a:lnTo>
                  <a:lnTo>
                    <a:pt x="702" y="1222"/>
                  </a:lnTo>
                  <a:lnTo>
                    <a:pt x="698" y="1226"/>
                  </a:lnTo>
                  <a:lnTo>
                    <a:pt x="690" y="1236"/>
                  </a:lnTo>
                  <a:lnTo>
                    <a:pt x="683" y="1246"/>
                  </a:lnTo>
                  <a:lnTo>
                    <a:pt x="681" y="1246"/>
                  </a:lnTo>
                  <a:lnTo>
                    <a:pt x="681" y="903"/>
                  </a:lnTo>
                  <a:close/>
                  <a:moveTo>
                    <a:pt x="1341" y="1724"/>
                  </a:moveTo>
                  <a:lnTo>
                    <a:pt x="1356" y="1724"/>
                  </a:lnTo>
                  <a:lnTo>
                    <a:pt x="1372" y="1723"/>
                  </a:lnTo>
                  <a:lnTo>
                    <a:pt x="1386" y="1720"/>
                  </a:lnTo>
                  <a:lnTo>
                    <a:pt x="1400" y="1718"/>
                  </a:lnTo>
                  <a:lnTo>
                    <a:pt x="1412" y="1714"/>
                  </a:lnTo>
                  <a:lnTo>
                    <a:pt x="1424" y="1710"/>
                  </a:lnTo>
                  <a:lnTo>
                    <a:pt x="1436" y="1705"/>
                  </a:lnTo>
                  <a:lnTo>
                    <a:pt x="1448" y="1699"/>
                  </a:lnTo>
                  <a:lnTo>
                    <a:pt x="1458" y="1694"/>
                  </a:lnTo>
                  <a:lnTo>
                    <a:pt x="1468" y="1687"/>
                  </a:lnTo>
                  <a:lnTo>
                    <a:pt x="1476" y="1679"/>
                  </a:lnTo>
                  <a:lnTo>
                    <a:pt x="1485" y="1672"/>
                  </a:lnTo>
                  <a:lnTo>
                    <a:pt x="1493" y="1663"/>
                  </a:lnTo>
                  <a:lnTo>
                    <a:pt x="1501" y="1654"/>
                  </a:lnTo>
                  <a:lnTo>
                    <a:pt x="1508" y="1645"/>
                  </a:lnTo>
                  <a:lnTo>
                    <a:pt x="1514" y="1635"/>
                  </a:lnTo>
                  <a:lnTo>
                    <a:pt x="1516" y="1635"/>
                  </a:lnTo>
                  <a:lnTo>
                    <a:pt x="1516" y="1707"/>
                  </a:lnTo>
                  <a:lnTo>
                    <a:pt x="1690" y="1707"/>
                  </a:lnTo>
                  <a:lnTo>
                    <a:pt x="1690" y="1176"/>
                  </a:lnTo>
                  <a:lnTo>
                    <a:pt x="1516" y="1176"/>
                  </a:lnTo>
                  <a:lnTo>
                    <a:pt x="1516" y="1248"/>
                  </a:lnTo>
                  <a:lnTo>
                    <a:pt x="1514" y="1248"/>
                  </a:lnTo>
                  <a:lnTo>
                    <a:pt x="1508" y="1238"/>
                  </a:lnTo>
                  <a:lnTo>
                    <a:pt x="1501" y="1229"/>
                  </a:lnTo>
                  <a:lnTo>
                    <a:pt x="1493" y="1221"/>
                  </a:lnTo>
                  <a:lnTo>
                    <a:pt x="1485" y="1212"/>
                  </a:lnTo>
                  <a:lnTo>
                    <a:pt x="1476" y="1204"/>
                  </a:lnTo>
                  <a:lnTo>
                    <a:pt x="1468" y="1196"/>
                  </a:lnTo>
                  <a:lnTo>
                    <a:pt x="1463" y="1193"/>
                  </a:lnTo>
                  <a:lnTo>
                    <a:pt x="1458" y="1189"/>
                  </a:lnTo>
                  <a:lnTo>
                    <a:pt x="1448" y="1184"/>
                  </a:lnTo>
                  <a:lnTo>
                    <a:pt x="1436" y="1178"/>
                  </a:lnTo>
                  <a:lnTo>
                    <a:pt x="1424" y="1173"/>
                  </a:lnTo>
                  <a:lnTo>
                    <a:pt x="1412" y="1168"/>
                  </a:lnTo>
                  <a:lnTo>
                    <a:pt x="1400" y="1165"/>
                  </a:lnTo>
                  <a:lnTo>
                    <a:pt x="1386" y="1163"/>
                  </a:lnTo>
                  <a:lnTo>
                    <a:pt x="1372" y="1161"/>
                  </a:lnTo>
                  <a:lnTo>
                    <a:pt x="1356" y="1160"/>
                  </a:lnTo>
                  <a:lnTo>
                    <a:pt x="1341" y="1158"/>
                  </a:lnTo>
                  <a:lnTo>
                    <a:pt x="1328" y="1160"/>
                  </a:lnTo>
                  <a:lnTo>
                    <a:pt x="1315" y="1160"/>
                  </a:lnTo>
                  <a:lnTo>
                    <a:pt x="1303" y="1162"/>
                  </a:lnTo>
                  <a:lnTo>
                    <a:pt x="1291" y="1164"/>
                  </a:lnTo>
                  <a:lnTo>
                    <a:pt x="1279" y="1166"/>
                  </a:lnTo>
                  <a:lnTo>
                    <a:pt x="1266" y="1169"/>
                  </a:lnTo>
                  <a:lnTo>
                    <a:pt x="1254" y="1173"/>
                  </a:lnTo>
                  <a:lnTo>
                    <a:pt x="1243" y="1177"/>
                  </a:lnTo>
                  <a:lnTo>
                    <a:pt x="1232" y="1182"/>
                  </a:lnTo>
                  <a:lnTo>
                    <a:pt x="1221" y="1187"/>
                  </a:lnTo>
                  <a:lnTo>
                    <a:pt x="1211" y="1193"/>
                  </a:lnTo>
                  <a:lnTo>
                    <a:pt x="1201" y="1199"/>
                  </a:lnTo>
                  <a:lnTo>
                    <a:pt x="1191" y="1206"/>
                  </a:lnTo>
                  <a:lnTo>
                    <a:pt x="1181" y="1214"/>
                  </a:lnTo>
                  <a:lnTo>
                    <a:pt x="1172" y="1222"/>
                  </a:lnTo>
                  <a:lnTo>
                    <a:pt x="1163" y="1231"/>
                  </a:lnTo>
                  <a:lnTo>
                    <a:pt x="1155" y="1239"/>
                  </a:lnTo>
                  <a:lnTo>
                    <a:pt x="1147" y="1249"/>
                  </a:lnTo>
                  <a:lnTo>
                    <a:pt x="1140" y="1259"/>
                  </a:lnTo>
                  <a:lnTo>
                    <a:pt x="1132" y="1271"/>
                  </a:lnTo>
                  <a:lnTo>
                    <a:pt x="1125" y="1282"/>
                  </a:lnTo>
                  <a:lnTo>
                    <a:pt x="1120" y="1294"/>
                  </a:lnTo>
                  <a:lnTo>
                    <a:pt x="1114" y="1306"/>
                  </a:lnTo>
                  <a:lnTo>
                    <a:pt x="1109" y="1318"/>
                  </a:lnTo>
                  <a:lnTo>
                    <a:pt x="1104" y="1333"/>
                  </a:lnTo>
                  <a:lnTo>
                    <a:pt x="1101" y="1346"/>
                  </a:lnTo>
                  <a:lnTo>
                    <a:pt x="1098" y="1361"/>
                  </a:lnTo>
                  <a:lnTo>
                    <a:pt x="1094" y="1376"/>
                  </a:lnTo>
                  <a:lnTo>
                    <a:pt x="1092" y="1392"/>
                  </a:lnTo>
                  <a:lnTo>
                    <a:pt x="1091" y="1407"/>
                  </a:lnTo>
                  <a:lnTo>
                    <a:pt x="1090" y="1424"/>
                  </a:lnTo>
                  <a:lnTo>
                    <a:pt x="1089" y="1442"/>
                  </a:lnTo>
                  <a:lnTo>
                    <a:pt x="1090" y="1458"/>
                  </a:lnTo>
                  <a:lnTo>
                    <a:pt x="1091" y="1475"/>
                  </a:lnTo>
                  <a:lnTo>
                    <a:pt x="1092" y="1492"/>
                  </a:lnTo>
                  <a:lnTo>
                    <a:pt x="1094" y="1507"/>
                  </a:lnTo>
                  <a:lnTo>
                    <a:pt x="1098" y="1523"/>
                  </a:lnTo>
                  <a:lnTo>
                    <a:pt x="1101" y="1537"/>
                  </a:lnTo>
                  <a:lnTo>
                    <a:pt x="1104" y="1550"/>
                  </a:lnTo>
                  <a:lnTo>
                    <a:pt x="1109" y="1564"/>
                  </a:lnTo>
                  <a:lnTo>
                    <a:pt x="1114" y="1577"/>
                  </a:lnTo>
                  <a:lnTo>
                    <a:pt x="1120" y="1589"/>
                  </a:lnTo>
                  <a:lnTo>
                    <a:pt x="1125" y="1602"/>
                  </a:lnTo>
                  <a:lnTo>
                    <a:pt x="1132" y="1613"/>
                  </a:lnTo>
                  <a:lnTo>
                    <a:pt x="1140" y="1624"/>
                  </a:lnTo>
                  <a:lnTo>
                    <a:pt x="1147" y="1634"/>
                  </a:lnTo>
                  <a:lnTo>
                    <a:pt x="1155" y="1644"/>
                  </a:lnTo>
                  <a:lnTo>
                    <a:pt x="1163" y="1653"/>
                  </a:lnTo>
                  <a:lnTo>
                    <a:pt x="1172" y="1662"/>
                  </a:lnTo>
                  <a:lnTo>
                    <a:pt x="1181" y="1669"/>
                  </a:lnTo>
                  <a:lnTo>
                    <a:pt x="1191" y="1677"/>
                  </a:lnTo>
                  <a:lnTo>
                    <a:pt x="1201" y="1684"/>
                  </a:lnTo>
                  <a:lnTo>
                    <a:pt x="1211" y="1690"/>
                  </a:lnTo>
                  <a:lnTo>
                    <a:pt x="1221" y="1696"/>
                  </a:lnTo>
                  <a:lnTo>
                    <a:pt x="1232" y="1702"/>
                  </a:lnTo>
                  <a:lnTo>
                    <a:pt x="1243" y="1706"/>
                  </a:lnTo>
                  <a:lnTo>
                    <a:pt x="1254" y="1710"/>
                  </a:lnTo>
                  <a:lnTo>
                    <a:pt x="1266" y="1714"/>
                  </a:lnTo>
                  <a:lnTo>
                    <a:pt x="1279" y="1717"/>
                  </a:lnTo>
                  <a:lnTo>
                    <a:pt x="1291" y="1719"/>
                  </a:lnTo>
                  <a:lnTo>
                    <a:pt x="1303" y="1722"/>
                  </a:lnTo>
                  <a:lnTo>
                    <a:pt x="1315" y="1723"/>
                  </a:lnTo>
                  <a:lnTo>
                    <a:pt x="1328" y="1724"/>
                  </a:lnTo>
                  <a:lnTo>
                    <a:pt x="1341" y="1724"/>
                  </a:lnTo>
                  <a:close/>
                  <a:moveTo>
                    <a:pt x="1389" y="1566"/>
                  </a:moveTo>
                  <a:lnTo>
                    <a:pt x="1376" y="1565"/>
                  </a:lnTo>
                  <a:lnTo>
                    <a:pt x="1370" y="1565"/>
                  </a:lnTo>
                  <a:lnTo>
                    <a:pt x="1364" y="1564"/>
                  </a:lnTo>
                  <a:lnTo>
                    <a:pt x="1352" y="1560"/>
                  </a:lnTo>
                  <a:lnTo>
                    <a:pt x="1346" y="1559"/>
                  </a:lnTo>
                  <a:lnTo>
                    <a:pt x="1341" y="1557"/>
                  </a:lnTo>
                  <a:lnTo>
                    <a:pt x="1330" y="1552"/>
                  </a:lnTo>
                  <a:lnTo>
                    <a:pt x="1325" y="1549"/>
                  </a:lnTo>
                  <a:lnTo>
                    <a:pt x="1320" y="1546"/>
                  </a:lnTo>
                  <a:lnTo>
                    <a:pt x="1315" y="1543"/>
                  </a:lnTo>
                  <a:lnTo>
                    <a:pt x="1311" y="1539"/>
                  </a:lnTo>
                  <a:lnTo>
                    <a:pt x="1302" y="1532"/>
                  </a:lnTo>
                  <a:lnTo>
                    <a:pt x="1294" y="1524"/>
                  </a:lnTo>
                  <a:lnTo>
                    <a:pt x="1288" y="1514"/>
                  </a:lnTo>
                  <a:lnTo>
                    <a:pt x="1282" y="1504"/>
                  </a:lnTo>
                  <a:lnTo>
                    <a:pt x="1279" y="1498"/>
                  </a:lnTo>
                  <a:lnTo>
                    <a:pt x="1276" y="1493"/>
                  </a:lnTo>
                  <a:lnTo>
                    <a:pt x="1272" y="1482"/>
                  </a:lnTo>
                  <a:lnTo>
                    <a:pt x="1270" y="1468"/>
                  </a:lnTo>
                  <a:lnTo>
                    <a:pt x="1269" y="1462"/>
                  </a:lnTo>
                  <a:lnTo>
                    <a:pt x="1268" y="1455"/>
                  </a:lnTo>
                  <a:lnTo>
                    <a:pt x="1268" y="1442"/>
                  </a:lnTo>
                  <a:lnTo>
                    <a:pt x="1268" y="1427"/>
                  </a:lnTo>
                  <a:lnTo>
                    <a:pt x="1270" y="1415"/>
                  </a:lnTo>
                  <a:lnTo>
                    <a:pt x="1271" y="1408"/>
                  </a:lnTo>
                  <a:lnTo>
                    <a:pt x="1272" y="1402"/>
                  </a:lnTo>
                  <a:lnTo>
                    <a:pt x="1276" y="1391"/>
                  </a:lnTo>
                  <a:lnTo>
                    <a:pt x="1279" y="1385"/>
                  </a:lnTo>
                  <a:lnTo>
                    <a:pt x="1282" y="1379"/>
                  </a:lnTo>
                  <a:lnTo>
                    <a:pt x="1288" y="1369"/>
                  </a:lnTo>
                  <a:lnTo>
                    <a:pt x="1294" y="1359"/>
                  </a:lnTo>
                  <a:lnTo>
                    <a:pt x="1302" y="1351"/>
                  </a:lnTo>
                  <a:lnTo>
                    <a:pt x="1306" y="1347"/>
                  </a:lnTo>
                  <a:lnTo>
                    <a:pt x="1311" y="1344"/>
                  </a:lnTo>
                  <a:lnTo>
                    <a:pt x="1315" y="1341"/>
                  </a:lnTo>
                  <a:lnTo>
                    <a:pt x="1320" y="1337"/>
                  </a:lnTo>
                  <a:lnTo>
                    <a:pt x="1330" y="1331"/>
                  </a:lnTo>
                  <a:lnTo>
                    <a:pt x="1341" y="1326"/>
                  </a:lnTo>
                  <a:lnTo>
                    <a:pt x="1352" y="1323"/>
                  </a:lnTo>
                  <a:lnTo>
                    <a:pt x="1364" y="1319"/>
                  </a:lnTo>
                  <a:lnTo>
                    <a:pt x="1370" y="1318"/>
                  </a:lnTo>
                  <a:lnTo>
                    <a:pt x="1376" y="1318"/>
                  </a:lnTo>
                  <a:lnTo>
                    <a:pt x="1389" y="1317"/>
                  </a:lnTo>
                  <a:lnTo>
                    <a:pt x="1402" y="1318"/>
                  </a:lnTo>
                  <a:lnTo>
                    <a:pt x="1414" y="1319"/>
                  </a:lnTo>
                  <a:lnTo>
                    <a:pt x="1426" y="1323"/>
                  </a:lnTo>
                  <a:lnTo>
                    <a:pt x="1432" y="1324"/>
                  </a:lnTo>
                  <a:lnTo>
                    <a:pt x="1438" y="1326"/>
                  </a:lnTo>
                  <a:lnTo>
                    <a:pt x="1449" y="1331"/>
                  </a:lnTo>
                  <a:lnTo>
                    <a:pt x="1454" y="1334"/>
                  </a:lnTo>
                  <a:lnTo>
                    <a:pt x="1459" y="1337"/>
                  </a:lnTo>
                  <a:lnTo>
                    <a:pt x="1463" y="1341"/>
                  </a:lnTo>
                  <a:lnTo>
                    <a:pt x="1469" y="1344"/>
                  </a:lnTo>
                  <a:lnTo>
                    <a:pt x="1476" y="1351"/>
                  </a:lnTo>
                  <a:lnTo>
                    <a:pt x="1484" y="1359"/>
                  </a:lnTo>
                  <a:lnTo>
                    <a:pt x="1492" y="1369"/>
                  </a:lnTo>
                  <a:lnTo>
                    <a:pt x="1498" y="1379"/>
                  </a:lnTo>
                  <a:lnTo>
                    <a:pt x="1500" y="1385"/>
                  </a:lnTo>
                  <a:lnTo>
                    <a:pt x="1503" y="1391"/>
                  </a:lnTo>
                  <a:lnTo>
                    <a:pt x="1506" y="1402"/>
                  </a:lnTo>
                  <a:lnTo>
                    <a:pt x="1510" y="1415"/>
                  </a:lnTo>
                  <a:lnTo>
                    <a:pt x="1511" y="1421"/>
                  </a:lnTo>
                  <a:lnTo>
                    <a:pt x="1511" y="1427"/>
                  </a:lnTo>
                  <a:lnTo>
                    <a:pt x="1512" y="1442"/>
                  </a:lnTo>
                  <a:lnTo>
                    <a:pt x="1511" y="1455"/>
                  </a:lnTo>
                  <a:lnTo>
                    <a:pt x="1510" y="1468"/>
                  </a:lnTo>
                  <a:lnTo>
                    <a:pt x="1509" y="1475"/>
                  </a:lnTo>
                  <a:lnTo>
                    <a:pt x="1506" y="1482"/>
                  </a:lnTo>
                  <a:lnTo>
                    <a:pt x="1503" y="1493"/>
                  </a:lnTo>
                  <a:lnTo>
                    <a:pt x="1500" y="1498"/>
                  </a:lnTo>
                  <a:lnTo>
                    <a:pt x="1498" y="1504"/>
                  </a:lnTo>
                  <a:lnTo>
                    <a:pt x="1492" y="1514"/>
                  </a:lnTo>
                  <a:lnTo>
                    <a:pt x="1484" y="1524"/>
                  </a:lnTo>
                  <a:lnTo>
                    <a:pt x="1476" y="1532"/>
                  </a:lnTo>
                  <a:lnTo>
                    <a:pt x="1473" y="1536"/>
                  </a:lnTo>
                  <a:lnTo>
                    <a:pt x="1469" y="1539"/>
                  </a:lnTo>
                  <a:lnTo>
                    <a:pt x="1463" y="1543"/>
                  </a:lnTo>
                  <a:lnTo>
                    <a:pt x="1459" y="1546"/>
                  </a:lnTo>
                  <a:lnTo>
                    <a:pt x="1449" y="1552"/>
                  </a:lnTo>
                  <a:lnTo>
                    <a:pt x="1438" y="1557"/>
                  </a:lnTo>
                  <a:lnTo>
                    <a:pt x="1426" y="1560"/>
                  </a:lnTo>
                  <a:lnTo>
                    <a:pt x="1414" y="1564"/>
                  </a:lnTo>
                  <a:lnTo>
                    <a:pt x="1402" y="1565"/>
                  </a:lnTo>
                  <a:lnTo>
                    <a:pt x="1389" y="1566"/>
                  </a:lnTo>
                  <a:close/>
                  <a:moveTo>
                    <a:pt x="2100" y="1158"/>
                  </a:moveTo>
                  <a:lnTo>
                    <a:pt x="2086" y="1160"/>
                  </a:lnTo>
                  <a:lnTo>
                    <a:pt x="2072" y="1161"/>
                  </a:lnTo>
                  <a:lnTo>
                    <a:pt x="2058" y="1163"/>
                  </a:lnTo>
                  <a:lnTo>
                    <a:pt x="2046" y="1165"/>
                  </a:lnTo>
                  <a:lnTo>
                    <a:pt x="2034" y="1169"/>
                  </a:lnTo>
                  <a:lnTo>
                    <a:pt x="2022" y="1174"/>
                  </a:lnTo>
                  <a:lnTo>
                    <a:pt x="2010" y="1178"/>
                  </a:lnTo>
                  <a:lnTo>
                    <a:pt x="1998" y="1184"/>
                  </a:lnTo>
                  <a:lnTo>
                    <a:pt x="1987" y="1191"/>
                  </a:lnTo>
                  <a:lnTo>
                    <a:pt x="1977" y="1198"/>
                  </a:lnTo>
                  <a:lnTo>
                    <a:pt x="1967" y="1206"/>
                  </a:lnTo>
                  <a:lnTo>
                    <a:pt x="1959" y="1215"/>
                  </a:lnTo>
                  <a:lnTo>
                    <a:pt x="1950" y="1225"/>
                  </a:lnTo>
                  <a:lnTo>
                    <a:pt x="1941" y="1235"/>
                  </a:lnTo>
                  <a:lnTo>
                    <a:pt x="1933" y="1245"/>
                  </a:lnTo>
                  <a:lnTo>
                    <a:pt x="1926" y="1256"/>
                  </a:lnTo>
                  <a:lnTo>
                    <a:pt x="1924" y="1256"/>
                  </a:lnTo>
                  <a:lnTo>
                    <a:pt x="1924" y="1176"/>
                  </a:lnTo>
                  <a:lnTo>
                    <a:pt x="1754" y="1176"/>
                  </a:lnTo>
                  <a:lnTo>
                    <a:pt x="1754" y="1707"/>
                  </a:lnTo>
                  <a:lnTo>
                    <a:pt x="1927" y="1707"/>
                  </a:lnTo>
                  <a:lnTo>
                    <a:pt x="1927" y="1441"/>
                  </a:lnTo>
                  <a:lnTo>
                    <a:pt x="1927" y="1424"/>
                  </a:lnTo>
                  <a:lnTo>
                    <a:pt x="1930" y="1408"/>
                  </a:lnTo>
                  <a:lnTo>
                    <a:pt x="1931" y="1401"/>
                  </a:lnTo>
                  <a:lnTo>
                    <a:pt x="1932" y="1394"/>
                  </a:lnTo>
                  <a:lnTo>
                    <a:pt x="1933" y="1387"/>
                  </a:lnTo>
                  <a:lnTo>
                    <a:pt x="1935" y="1381"/>
                  </a:lnTo>
                  <a:lnTo>
                    <a:pt x="1940" y="1368"/>
                  </a:lnTo>
                  <a:lnTo>
                    <a:pt x="1944" y="1358"/>
                  </a:lnTo>
                  <a:lnTo>
                    <a:pt x="1947" y="1354"/>
                  </a:lnTo>
                  <a:lnTo>
                    <a:pt x="1950" y="1349"/>
                  </a:lnTo>
                  <a:lnTo>
                    <a:pt x="1953" y="1345"/>
                  </a:lnTo>
                  <a:lnTo>
                    <a:pt x="1956" y="1341"/>
                  </a:lnTo>
                  <a:lnTo>
                    <a:pt x="1964" y="1334"/>
                  </a:lnTo>
                  <a:lnTo>
                    <a:pt x="1972" y="1327"/>
                  </a:lnTo>
                  <a:lnTo>
                    <a:pt x="1980" y="1323"/>
                  </a:lnTo>
                  <a:lnTo>
                    <a:pt x="1989" y="1318"/>
                  </a:lnTo>
                  <a:lnTo>
                    <a:pt x="1998" y="1315"/>
                  </a:lnTo>
                  <a:lnTo>
                    <a:pt x="2008" y="1314"/>
                  </a:lnTo>
                  <a:lnTo>
                    <a:pt x="2018" y="1312"/>
                  </a:lnTo>
                  <a:lnTo>
                    <a:pt x="2030" y="1312"/>
                  </a:lnTo>
                  <a:lnTo>
                    <a:pt x="2041" y="1312"/>
                  </a:lnTo>
                  <a:lnTo>
                    <a:pt x="2052" y="1314"/>
                  </a:lnTo>
                  <a:lnTo>
                    <a:pt x="2063" y="1315"/>
                  </a:lnTo>
                  <a:lnTo>
                    <a:pt x="2072" y="1318"/>
                  </a:lnTo>
                  <a:lnTo>
                    <a:pt x="2081" y="1323"/>
                  </a:lnTo>
                  <a:lnTo>
                    <a:pt x="2088" y="1327"/>
                  </a:lnTo>
                  <a:lnTo>
                    <a:pt x="2096" y="1333"/>
                  </a:lnTo>
                  <a:lnTo>
                    <a:pt x="2100" y="1336"/>
                  </a:lnTo>
                  <a:lnTo>
                    <a:pt x="2103" y="1339"/>
                  </a:lnTo>
                  <a:lnTo>
                    <a:pt x="2108" y="1347"/>
                  </a:lnTo>
                  <a:lnTo>
                    <a:pt x="2113" y="1355"/>
                  </a:lnTo>
                  <a:lnTo>
                    <a:pt x="2115" y="1361"/>
                  </a:lnTo>
                  <a:lnTo>
                    <a:pt x="2117" y="1365"/>
                  </a:lnTo>
                  <a:lnTo>
                    <a:pt x="2121" y="1375"/>
                  </a:lnTo>
                  <a:lnTo>
                    <a:pt x="2124" y="1386"/>
                  </a:lnTo>
                  <a:lnTo>
                    <a:pt x="2125" y="1399"/>
                  </a:lnTo>
                  <a:lnTo>
                    <a:pt x="2127" y="1413"/>
                  </a:lnTo>
                  <a:lnTo>
                    <a:pt x="2127" y="1426"/>
                  </a:lnTo>
                  <a:lnTo>
                    <a:pt x="2127" y="1707"/>
                  </a:lnTo>
                  <a:lnTo>
                    <a:pt x="2300" y="1707"/>
                  </a:lnTo>
                  <a:lnTo>
                    <a:pt x="2300" y="1378"/>
                  </a:lnTo>
                  <a:lnTo>
                    <a:pt x="2300" y="1364"/>
                  </a:lnTo>
                  <a:lnTo>
                    <a:pt x="2298" y="1351"/>
                  </a:lnTo>
                  <a:lnTo>
                    <a:pt x="2297" y="1338"/>
                  </a:lnTo>
                  <a:lnTo>
                    <a:pt x="2296" y="1325"/>
                  </a:lnTo>
                  <a:lnTo>
                    <a:pt x="2294" y="1314"/>
                  </a:lnTo>
                  <a:lnTo>
                    <a:pt x="2291" y="1302"/>
                  </a:lnTo>
                  <a:lnTo>
                    <a:pt x="2288" y="1291"/>
                  </a:lnTo>
                  <a:lnTo>
                    <a:pt x="2285" y="1281"/>
                  </a:lnTo>
                  <a:lnTo>
                    <a:pt x="2281" y="1269"/>
                  </a:lnTo>
                  <a:lnTo>
                    <a:pt x="2277" y="1261"/>
                  </a:lnTo>
                  <a:lnTo>
                    <a:pt x="2272" y="1251"/>
                  </a:lnTo>
                  <a:lnTo>
                    <a:pt x="2267" y="1243"/>
                  </a:lnTo>
                  <a:lnTo>
                    <a:pt x="2262" y="1234"/>
                  </a:lnTo>
                  <a:lnTo>
                    <a:pt x="2256" y="1226"/>
                  </a:lnTo>
                  <a:lnTo>
                    <a:pt x="2250" y="1218"/>
                  </a:lnTo>
                  <a:lnTo>
                    <a:pt x="2244" y="1212"/>
                  </a:lnTo>
                  <a:lnTo>
                    <a:pt x="2236" y="1205"/>
                  </a:lnTo>
                  <a:lnTo>
                    <a:pt x="2230" y="1199"/>
                  </a:lnTo>
                  <a:lnTo>
                    <a:pt x="2222" y="1194"/>
                  </a:lnTo>
                  <a:lnTo>
                    <a:pt x="2214" y="1188"/>
                  </a:lnTo>
                  <a:lnTo>
                    <a:pt x="2206" y="1184"/>
                  </a:lnTo>
                  <a:lnTo>
                    <a:pt x="2198" y="1179"/>
                  </a:lnTo>
                  <a:lnTo>
                    <a:pt x="2190" y="1175"/>
                  </a:lnTo>
                  <a:lnTo>
                    <a:pt x="2181" y="1172"/>
                  </a:lnTo>
                  <a:lnTo>
                    <a:pt x="2171" y="1168"/>
                  </a:lnTo>
                  <a:lnTo>
                    <a:pt x="2162" y="1166"/>
                  </a:lnTo>
                  <a:lnTo>
                    <a:pt x="2152" y="1164"/>
                  </a:lnTo>
                  <a:lnTo>
                    <a:pt x="2142" y="1162"/>
                  </a:lnTo>
                  <a:lnTo>
                    <a:pt x="2132" y="1161"/>
                  </a:lnTo>
                  <a:lnTo>
                    <a:pt x="2121" y="1160"/>
                  </a:lnTo>
                  <a:lnTo>
                    <a:pt x="2111" y="1160"/>
                  </a:lnTo>
                  <a:lnTo>
                    <a:pt x="2100" y="1158"/>
                  </a:lnTo>
                  <a:close/>
                  <a:moveTo>
                    <a:pt x="2651" y="1954"/>
                  </a:moveTo>
                  <a:lnTo>
                    <a:pt x="2668" y="1954"/>
                  </a:lnTo>
                  <a:lnTo>
                    <a:pt x="2685" y="1953"/>
                  </a:lnTo>
                  <a:lnTo>
                    <a:pt x="2701" y="1951"/>
                  </a:lnTo>
                  <a:lnTo>
                    <a:pt x="2716" y="1950"/>
                  </a:lnTo>
                  <a:lnTo>
                    <a:pt x="2731" y="1948"/>
                  </a:lnTo>
                  <a:lnTo>
                    <a:pt x="2745" y="1946"/>
                  </a:lnTo>
                  <a:lnTo>
                    <a:pt x="2759" y="1943"/>
                  </a:lnTo>
                  <a:lnTo>
                    <a:pt x="2773" y="1939"/>
                  </a:lnTo>
                  <a:lnTo>
                    <a:pt x="2779" y="1937"/>
                  </a:lnTo>
                  <a:lnTo>
                    <a:pt x="2786" y="1935"/>
                  </a:lnTo>
                  <a:lnTo>
                    <a:pt x="2798" y="1930"/>
                  </a:lnTo>
                  <a:lnTo>
                    <a:pt x="2810" y="1925"/>
                  </a:lnTo>
                  <a:lnTo>
                    <a:pt x="2822" y="1919"/>
                  </a:lnTo>
                  <a:lnTo>
                    <a:pt x="2833" y="1914"/>
                  </a:lnTo>
                  <a:lnTo>
                    <a:pt x="2844" y="1907"/>
                  </a:lnTo>
                  <a:lnTo>
                    <a:pt x="2853" y="1900"/>
                  </a:lnTo>
                  <a:lnTo>
                    <a:pt x="2863" y="1893"/>
                  </a:lnTo>
                  <a:lnTo>
                    <a:pt x="2872" y="1885"/>
                  </a:lnTo>
                  <a:lnTo>
                    <a:pt x="2879" y="1877"/>
                  </a:lnTo>
                  <a:lnTo>
                    <a:pt x="2887" y="1868"/>
                  </a:lnTo>
                  <a:lnTo>
                    <a:pt x="2895" y="1858"/>
                  </a:lnTo>
                  <a:lnTo>
                    <a:pt x="2902" y="1848"/>
                  </a:lnTo>
                  <a:lnTo>
                    <a:pt x="2907" y="1838"/>
                  </a:lnTo>
                  <a:lnTo>
                    <a:pt x="2913" y="1827"/>
                  </a:lnTo>
                  <a:lnTo>
                    <a:pt x="2918" y="1816"/>
                  </a:lnTo>
                  <a:lnTo>
                    <a:pt x="2923" y="1804"/>
                  </a:lnTo>
                  <a:lnTo>
                    <a:pt x="2926" y="1792"/>
                  </a:lnTo>
                  <a:lnTo>
                    <a:pt x="2929" y="1779"/>
                  </a:lnTo>
                  <a:lnTo>
                    <a:pt x="2932" y="1766"/>
                  </a:lnTo>
                  <a:lnTo>
                    <a:pt x="2934" y="1752"/>
                  </a:lnTo>
                  <a:lnTo>
                    <a:pt x="2936" y="1737"/>
                  </a:lnTo>
                  <a:lnTo>
                    <a:pt x="2937" y="1723"/>
                  </a:lnTo>
                  <a:lnTo>
                    <a:pt x="2937" y="1707"/>
                  </a:lnTo>
                  <a:lnTo>
                    <a:pt x="2937" y="1176"/>
                  </a:lnTo>
                  <a:lnTo>
                    <a:pt x="2764" y="1176"/>
                  </a:lnTo>
                  <a:lnTo>
                    <a:pt x="2764" y="1248"/>
                  </a:lnTo>
                  <a:lnTo>
                    <a:pt x="2762" y="1248"/>
                  </a:lnTo>
                  <a:lnTo>
                    <a:pt x="2755" y="1238"/>
                  </a:lnTo>
                  <a:lnTo>
                    <a:pt x="2748" y="1229"/>
                  </a:lnTo>
                  <a:lnTo>
                    <a:pt x="2741" y="1221"/>
                  </a:lnTo>
                  <a:lnTo>
                    <a:pt x="2733" y="1212"/>
                  </a:lnTo>
                  <a:lnTo>
                    <a:pt x="2724" y="1204"/>
                  </a:lnTo>
                  <a:lnTo>
                    <a:pt x="2715" y="1196"/>
                  </a:lnTo>
                  <a:lnTo>
                    <a:pt x="2709" y="1193"/>
                  </a:lnTo>
                  <a:lnTo>
                    <a:pt x="2705" y="1189"/>
                  </a:lnTo>
                  <a:lnTo>
                    <a:pt x="2694" y="1184"/>
                  </a:lnTo>
                  <a:lnTo>
                    <a:pt x="2684" y="1178"/>
                  </a:lnTo>
                  <a:lnTo>
                    <a:pt x="2672" y="1173"/>
                  </a:lnTo>
                  <a:lnTo>
                    <a:pt x="2659" y="1168"/>
                  </a:lnTo>
                  <a:lnTo>
                    <a:pt x="2646" y="1165"/>
                  </a:lnTo>
                  <a:lnTo>
                    <a:pt x="2633" y="1163"/>
                  </a:lnTo>
                  <a:lnTo>
                    <a:pt x="2618" y="1161"/>
                  </a:lnTo>
                  <a:lnTo>
                    <a:pt x="2604" y="1160"/>
                  </a:lnTo>
                  <a:lnTo>
                    <a:pt x="2587" y="1158"/>
                  </a:lnTo>
                  <a:lnTo>
                    <a:pt x="2575" y="1160"/>
                  </a:lnTo>
                  <a:lnTo>
                    <a:pt x="2562" y="1160"/>
                  </a:lnTo>
                  <a:lnTo>
                    <a:pt x="2537" y="1164"/>
                  </a:lnTo>
                  <a:lnTo>
                    <a:pt x="2525" y="1166"/>
                  </a:lnTo>
                  <a:lnTo>
                    <a:pt x="2513" y="1169"/>
                  </a:lnTo>
                  <a:lnTo>
                    <a:pt x="2502" y="1173"/>
                  </a:lnTo>
                  <a:lnTo>
                    <a:pt x="2491" y="1177"/>
                  </a:lnTo>
                  <a:lnTo>
                    <a:pt x="2479" y="1182"/>
                  </a:lnTo>
                  <a:lnTo>
                    <a:pt x="2468" y="1187"/>
                  </a:lnTo>
                  <a:lnTo>
                    <a:pt x="2457" y="1193"/>
                  </a:lnTo>
                  <a:lnTo>
                    <a:pt x="2447" y="1199"/>
                  </a:lnTo>
                  <a:lnTo>
                    <a:pt x="2437" y="1206"/>
                  </a:lnTo>
                  <a:lnTo>
                    <a:pt x="2428" y="1214"/>
                  </a:lnTo>
                  <a:lnTo>
                    <a:pt x="2419" y="1222"/>
                  </a:lnTo>
                  <a:lnTo>
                    <a:pt x="2411" y="1231"/>
                  </a:lnTo>
                  <a:lnTo>
                    <a:pt x="2402" y="1239"/>
                  </a:lnTo>
                  <a:lnTo>
                    <a:pt x="2394" y="1249"/>
                  </a:lnTo>
                  <a:lnTo>
                    <a:pt x="2386" y="1259"/>
                  </a:lnTo>
                  <a:lnTo>
                    <a:pt x="2379" y="1271"/>
                  </a:lnTo>
                  <a:lnTo>
                    <a:pt x="2373" y="1282"/>
                  </a:lnTo>
                  <a:lnTo>
                    <a:pt x="2366" y="1293"/>
                  </a:lnTo>
                  <a:lnTo>
                    <a:pt x="2361" y="1305"/>
                  </a:lnTo>
                  <a:lnTo>
                    <a:pt x="2356" y="1318"/>
                  </a:lnTo>
                  <a:lnTo>
                    <a:pt x="2352" y="1332"/>
                  </a:lnTo>
                  <a:lnTo>
                    <a:pt x="2347" y="1346"/>
                  </a:lnTo>
                  <a:lnTo>
                    <a:pt x="2346" y="1353"/>
                  </a:lnTo>
                  <a:lnTo>
                    <a:pt x="2344" y="1361"/>
                  </a:lnTo>
                  <a:lnTo>
                    <a:pt x="2342" y="1375"/>
                  </a:lnTo>
                  <a:lnTo>
                    <a:pt x="2340" y="1391"/>
                  </a:lnTo>
                  <a:lnTo>
                    <a:pt x="2337" y="1407"/>
                  </a:lnTo>
                  <a:lnTo>
                    <a:pt x="2336" y="1424"/>
                  </a:lnTo>
                  <a:lnTo>
                    <a:pt x="2336" y="1441"/>
                  </a:lnTo>
                  <a:lnTo>
                    <a:pt x="2336" y="1457"/>
                  </a:lnTo>
                  <a:lnTo>
                    <a:pt x="2337" y="1474"/>
                  </a:lnTo>
                  <a:lnTo>
                    <a:pt x="2338" y="1489"/>
                  </a:lnTo>
                  <a:lnTo>
                    <a:pt x="2341" y="1505"/>
                  </a:lnTo>
                  <a:lnTo>
                    <a:pt x="2344" y="1519"/>
                  </a:lnTo>
                  <a:lnTo>
                    <a:pt x="2347" y="1534"/>
                  </a:lnTo>
                  <a:lnTo>
                    <a:pt x="2352" y="1548"/>
                  </a:lnTo>
                  <a:lnTo>
                    <a:pt x="2356" y="1562"/>
                  </a:lnTo>
                  <a:lnTo>
                    <a:pt x="2361" y="1574"/>
                  </a:lnTo>
                  <a:lnTo>
                    <a:pt x="2366" y="1586"/>
                  </a:lnTo>
                  <a:lnTo>
                    <a:pt x="2372" y="1597"/>
                  </a:lnTo>
                  <a:lnTo>
                    <a:pt x="2378" y="1608"/>
                  </a:lnTo>
                  <a:lnTo>
                    <a:pt x="2386" y="1619"/>
                  </a:lnTo>
                  <a:lnTo>
                    <a:pt x="2393" y="1629"/>
                  </a:lnTo>
                  <a:lnTo>
                    <a:pt x="2401" y="1638"/>
                  </a:lnTo>
                  <a:lnTo>
                    <a:pt x="2409" y="1647"/>
                  </a:lnTo>
                  <a:lnTo>
                    <a:pt x="2418" y="1656"/>
                  </a:lnTo>
                  <a:lnTo>
                    <a:pt x="2427" y="1664"/>
                  </a:lnTo>
                  <a:lnTo>
                    <a:pt x="2436" y="1670"/>
                  </a:lnTo>
                  <a:lnTo>
                    <a:pt x="2446" y="1677"/>
                  </a:lnTo>
                  <a:lnTo>
                    <a:pt x="2456" y="1684"/>
                  </a:lnTo>
                  <a:lnTo>
                    <a:pt x="2467" y="1689"/>
                  </a:lnTo>
                  <a:lnTo>
                    <a:pt x="2477" y="1695"/>
                  </a:lnTo>
                  <a:lnTo>
                    <a:pt x="2488" y="1699"/>
                  </a:lnTo>
                  <a:lnTo>
                    <a:pt x="2501" y="1703"/>
                  </a:lnTo>
                  <a:lnTo>
                    <a:pt x="2512" y="1706"/>
                  </a:lnTo>
                  <a:lnTo>
                    <a:pt x="2524" y="1709"/>
                  </a:lnTo>
                  <a:lnTo>
                    <a:pt x="2536" y="1712"/>
                  </a:lnTo>
                  <a:lnTo>
                    <a:pt x="2548" y="1714"/>
                  </a:lnTo>
                  <a:lnTo>
                    <a:pt x="2561" y="1715"/>
                  </a:lnTo>
                  <a:lnTo>
                    <a:pt x="2574" y="1716"/>
                  </a:lnTo>
                  <a:lnTo>
                    <a:pt x="2586" y="1716"/>
                  </a:lnTo>
                  <a:lnTo>
                    <a:pt x="2603" y="1716"/>
                  </a:lnTo>
                  <a:lnTo>
                    <a:pt x="2618" y="1715"/>
                  </a:lnTo>
                  <a:lnTo>
                    <a:pt x="2634" y="1713"/>
                  </a:lnTo>
                  <a:lnTo>
                    <a:pt x="2647" y="1709"/>
                  </a:lnTo>
                  <a:lnTo>
                    <a:pt x="2661" y="1706"/>
                  </a:lnTo>
                  <a:lnTo>
                    <a:pt x="2673" y="1702"/>
                  </a:lnTo>
                  <a:lnTo>
                    <a:pt x="2685" y="1697"/>
                  </a:lnTo>
                  <a:lnTo>
                    <a:pt x="2696" y="1692"/>
                  </a:lnTo>
                  <a:lnTo>
                    <a:pt x="2706" y="1686"/>
                  </a:lnTo>
                  <a:lnTo>
                    <a:pt x="2716" y="1679"/>
                  </a:lnTo>
                  <a:lnTo>
                    <a:pt x="2725" y="1673"/>
                  </a:lnTo>
                  <a:lnTo>
                    <a:pt x="2734" y="1666"/>
                  </a:lnTo>
                  <a:lnTo>
                    <a:pt x="2742" y="1658"/>
                  </a:lnTo>
                  <a:lnTo>
                    <a:pt x="2748" y="1652"/>
                  </a:lnTo>
                  <a:lnTo>
                    <a:pt x="2755" y="1644"/>
                  </a:lnTo>
                  <a:lnTo>
                    <a:pt x="2762" y="1636"/>
                  </a:lnTo>
                  <a:lnTo>
                    <a:pt x="2764" y="1636"/>
                  </a:lnTo>
                  <a:lnTo>
                    <a:pt x="2764" y="1670"/>
                  </a:lnTo>
                  <a:lnTo>
                    <a:pt x="2763" y="1687"/>
                  </a:lnTo>
                  <a:lnTo>
                    <a:pt x="2762" y="1703"/>
                  </a:lnTo>
                  <a:lnTo>
                    <a:pt x="2759" y="1716"/>
                  </a:lnTo>
                  <a:lnTo>
                    <a:pt x="2758" y="1723"/>
                  </a:lnTo>
                  <a:lnTo>
                    <a:pt x="2756" y="1728"/>
                  </a:lnTo>
                  <a:lnTo>
                    <a:pt x="2754" y="1734"/>
                  </a:lnTo>
                  <a:lnTo>
                    <a:pt x="2752" y="1739"/>
                  </a:lnTo>
                  <a:lnTo>
                    <a:pt x="2747" y="1749"/>
                  </a:lnTo>
                  <a:lnTo>
                    <a:pt x="2741" y="1758"/>
                  </a:lnTo>
                  <a:lnTo>
                    <a:pt x="2737" y="1763"/>
                  </a:lnTo>
                  <a:lnTo>
                    <a:pt x="2734" y="1766"/>
                  </a:lnTo>
                  <a:lnTo>
                    <a:pt x="2725" y="1773"/>
                  </a:lnTo>
                  <a:lnTo>
                    <a:pt x="2716" y="1778"/>
                  </a:lnTo>
                  <a:lnTo>
                    <a:pt x="2706" y="1783"/>
                  </a:lnTo>
                  <a:lnTo>
                    <a:pt x="2695" y="1786"/>
                  </a:lnTo>
                  <a:lnTo>
                    <a:pt x="2683" y="1789"/>
                  </a:lnTo>
                  <a:lnTo>
                    <a:pt x="2668" y="1790"/>
                  </a:lnTo>
                  <a:lnTo>
                    <a:pt x="2654" y="1792"/>
                  </a:lnTo>
                  <a:lnTo>
                    <a:pt x="2638" y="1792"/>
                  </a:lnTo>
                  <a:lnTo>
                    <a:pt x="2623" y="1792"/>
                  </a:lnTo>
                  <a:lnTo>
                    <a:pt x="2605" y="1790"/>
                  </a:lnTo>
                  <a:lnTo>
                    <a:pt x="2585" y="1789"/>
                  </a:lnTo>
                  <a:lnTo>
                    <a:pt x="2563" y="1787"/>
                  </a:lnTo>
                  <a:lnTo>
                    <a:pt x="2538" y="1783"/>
                  </a:lnTo>
                  <a:lnTo>
                    <a:pt x="2513" y="1778"/>
                  </a:lnTo>
                  <a:lnTo>
                    <a:pt x="2484" y="1773"/>
                  </a:lnTo>
                  <a:lnTo>
                    <a:pt x="2452" y="1766"/>
                  </a:lnTo>
                  <a:lnTo>
                    <a:pt x="2424" y="1928"/>
                  </a:lnTo>
                  <a:lnTo>
                    <a:pt x="2456" y="1934"/>
                  </a:lnTo>
                  <a:lnTo>
                    <a:pt x="2489" y="1939"/>
                  </a:lnTo>
                  <a:lnTo>
                    <a:pt x="2521" y="1944"/>
                  </a:lnTo>
                  <a:lnTo>
                    <a:pt x="2551" y="1948"/>
                  </a:lnTo>
                  <a:lnTo>
                    <a:pt x="2578" y="1950"/>
                  </a:lnTo>
                  <a:lnTo>
                    <a:pt x="2605" y="1953"/>
                  </a:lnTo>
                  <a:lnTo>
                    <a:pt x="2629" y="1954"/>
                  </a:lnTo>
                  <a:lnTo>
                    <a:pt x="2651" y="1954"/>
                  </a:lnTo>
                  <a:close/>
                  <a:moveTo>
                    <a:pt x="2636" y="1566"/>
                  </a:moveTo>
                  <a:lnTo>
                    <a:pt x="2623" y="1565"/>
                  </a:lnTo>
                  <a:lnTo>
                    <a:pt x="2617" y="1565"/>
                  </a:lnTo>
                  <a:lnTo>
                    <a:pt x="2611" y="1564"/>
                  </a:lnTo>
                  <a:lnTo>
                    <a:pt x="2599" y="1560"/>
                  </a:lnTo>
                  <a:lnTo>
                    <a:pt x="2594" y="1559"/>
                  </a:lnTo>
                  <a:lnTo>
                    <a:pt x="2588" y="1557"/>
                  </a:lnTo>
                  <a:lnTo>
                    <a:pt x="2577" y="1552"/>
                  </a:lnTo>
                  <a:lnTo>
                    <a:pt x="2567" y="1546"/>
                  </a:lnTo>
                  <a:lnTo>
                    <a:pt x="2563" y="1543"/>
                  </a:lnTo>
                  <a:lnTo>
                    <a:pt x="2558" y="1539"/>
                  </a:lnTo>
                  <a:lnTo>
                    <a:pt x="2549" y="1532"/>
                  </a:lnTo>
                  <a:lnTo>
                    <a:pt x="2542" y="1524"/>
                  </a:lnTo>
                  <a:lnTo>
                    <a:pt x="2535" y="1514"/>
                  </a:lnTo>
                  <a:lnTo>
                    <a:pt x="2528" y="1504"/>
                  </a:lnTo>
                  <a:lnTo>
                    <a:pt x="2526" y="1498"/>
                  </a:lnTo>
                  <a:lnTo>
                    <a:pt x="2524" y="1493"/>
                  </a:lnTo>
                  <a:lnTo>
                    <a:pt x="2519" y="1482"/>
                  </a:lnTo>
                  <a:lnTo>
                    <a:pt x="2516" y="1468"/>
                  </a:lnTo>
                  <a:lnTo>
                    <a:pt x="2515" y="1462"/>
                  </a:lnTo>
                  <a:lnTo>
                    <a:pt x="2515" y="1455"/>
                  </a:lnTo>
                  <a:lnTo>
                    <a:pt x="2514" y="1442"/>
                  </a:lnTo>
                  <a:lnTo>
                    <a:pt x="2515" y="1427"/>
                  </a:lnTo>
                  <a:lnTo>
                    <a:pt x="2516" y="1415"/>
                  </a:lnTo>
                  <a:lnTo>
                    <a:pt x="2518" y="1408"/>
                  </a:lnTo>
                  <a:lnTo>
                    <a:pt x="2519" y="1402"/>
                  </a:lnTo>
                  <a:lnTo>
                    <a:pt x="2524" y="1391"/>
                  </a:lnTo>
                  <a:lnTo>
                    <a:pt x="2526" y="1385"/>
                  </a:lnTo>
                  <a:lnTo>
                    <a:pt x="2528" y="1379"/>
                  </a:lnTo>
                  <a:lnTo>
                    <a:pt x="2535" y="1369"/>
                  </a:lnTo>
                  <a:lnTo>
                    <a:pt x="2542" y="1359"/>
                  </a:lnTo>
                  <a:lnTo>
                    <a:pt x="2549" y="1351"/>
                  </a:lnTo>
                  <a:lnTo>
                    <a:pt x="2554" y="1347"/>
                  </a:lnTo>
                  <a:lnTo>
                    <a:pt x="2558" y="1344"/>
                  </a:lnTo>
                  <a:lnTo>
                    <a:pt x="2563" y="1341"/>
                  </a:lnTo>
                  <a:lnTo>
                    <a:pt x="2567" y="1337"/>
                  </a:lnTo>
                  <a:lnTo>
                    <a:pt x="2577" y="1331"/>
                  </a:lnTo>
                  <a:lnTo>
                    <a:pt x="2588" y="1326"/>
                  </a:lnTo>
                  <a:lnTo>
                    <a:pt x="2599" y="1323"/>
                  </a:lnTo>
                  <a:lnTo>
                    <a:pt x="2611" y="1319"/>
                  </a:lnTo>
                  <a:lnTo>
                    <a:pt x="2617" y="1318"/>
                  </a:lnTo>
                  <a:lnTo>
                    <a:pt x="2623" y="1318"/>
                  </a:lnTo>
                  <a:lnTo>
                    <a:pt x="2636" y="1317"/>
                  </a:lnTo>
                  <a:lnTo>
                    <a:pt x="2649" y="1318"/>
                  </a:lnTo>
                  <a:lnTo>
                    <a:pt x="2662" y="1319"/>
                  </a:lnTo>
                  <a:lnTo>
                    <a:pt x="2674" y="1323"/>
                  </a:lnTo>
                  <a:lnTo>
                    <a:pt x="2679" y="1324"/>
                  </a:lnTo>
                  <a:lnTo>
                    <a:pt x="2685" y="1326"/>
                  </a:lnTo>
                  <a:lnTo>
                    <a:pt x="2696" y="1331"/>
                  </a:lnTo>
                  <a:lnTo>
                    <a:pt x="2701" y="1334"/>
                  </a:lnTo>
                  <a:lnTo>
                    <a:pt x="2706" y="1337"/>
                  </a:lnTo>
                  <a:lnTo>
                    <a:pt x="2711" y="1341"/>
                  </a:lnTo>
                  <a:lnTo>
                    <a:pt x="2715" y="1344"/>
                  </a:lnTo>
                  <a:lnTo>
                    <a:pt x="2724" y="1351"/>
                  </a:lnTo>
                  <a:lnTo>
                    <a:pt x="2732" y="1359"/>
                  </a:lnTo>
                  <a:lnTo>
                    <a:pt x="2738" y="1369"/>
                  </a:lnTo>
                  <a:lnTo>
                    <a:pt x="2745" y="1379"/>
                  </a:lnTo>
                  <a:lnTo>
                    <a:pt x="2747" y="1385"/>
                  </a:lnTo>
                  <a:lnTo>
                    <a:pt x="2749" y="1391"/>
                  </a:lnTo>
                  <a:lnTo>
                    <a:pt x="2754" y="1402"/>
                  </a:lnTo>
                  <a:lnTo>
                    <a:pt x="2756" y="1415"/>
                  </a:lnTo>
                  <a:lnTo>
                    <a:pt x="2757" y="1421"/>
                  </a:lnTo>
                  <a:lnTo>
                    <a:pt x="2758" y="1427"/>
                  </a:lnTo>
                  <a:lnTo>
                    <a:pt x="2759" y="1442"/>
                  </a:lnTo>
                  <a:lnTo>
                    <a:pt x="2758" y="1455"/>
                  </a:lnTo>
                  <a:lnTo>
                    <a:pt x="2756" y="1468"/>
                  </a:lnTo>
                  <a:lnTo>
                    <a:pt x="2755" y="1475"/>
                  </a:lnTo>
                  <a:lnTo>
                    <a:pt x="2754" y="1482"/>
                  </a:lnTo>
                  <a:lnTo>
                    <a:pt x="2749" y="1493"/>
                  </a:lnTo>
                  <a:lnTo>
                    <a:pt x="2747" y="1498"/>
                  </a:lnTo>
                  <a:lnTo>
                    <a:pt x="2745" y="1504"/>
                  </a:lnTo>
                  <a:lnTo>
                    <a:pt x="2738" y="1514"/>
                  </a:lnTo>
                  <a:lnTo>
                    <a:pt x="2732" y="1524"/>
                  </a:lnTo>
                  <a:lnTo>
                    <a:pt x="2724" y="1532"/>
                  </a:lnTo>
                  <a:lnTo>
                    <a:pt x="2719" y="1536"/>
                  </a:lnTo>
                  <a:lnTo>
                    <a:pt x="2715" y="1539"/>
                  </a:lnTo>
                  <a:lnTo>
                    <a:pt x="2711" y="1543"/>
                  </a:lnTo>
                  <a:lnTo>
                    <a:pt x="2706" y="1546"/>
                  </a:lnTo>
                  <a:lnTo>
                    <a:pt x="2696" y="1552"/>
                  </a:lnTo>
                  <a:lnTo>
                    <a:pt x="2685" y="1557"/>
                  </a:lnTo>
                  <a:lnTo>
                    <a:pt x="2674" y="1560"/>
                  </a:lnTo>
                  <a:lnTo>
                    <a:pt x="2662" y="1564"/>
                  </a:lnTo>
                  <a:lnTo>
                    <a:pt x="2649" y="1565"/>
                  </a:lnTo>
                  <a:lnTo>
                    <a:pt x="2636" y="1566"/>
                  </a:lnTo>
                  <a:close/>
                  <a:moveTo>
                    <a:pt x="3254" y="1160"/>
                  </a:moveTo>
                  <a:lnTo>
                    <a:pt x="3239" y="1161"/>
                  </a:lnTo>
                  <a:lnTo>
                    <a:pt x="3224" y="1162"/>
                  </a:lnTo>
                  <a:lnTo>
                    <a:pt x="3209" y="1163"/>
                  </a:lnTo>
                  <a:lnTo>
                    <a:pt x="3195" y="1165"/>
                  </a:lnTo>
                  <a:lnTo>
                    <a:pt x="3181" y="1167"/>
                  </a:lnTo>
                  <a:lnTo>
                    <a:pt x="3167" y="1171"/>
                  </a:lnTo>
                  <a:lnTo>
                    <a:pt x="3154" y="1175"/>
                  </a:lnTo>
                  <a:lnTo>
                    <a:pt x="3141" y="1179"/>
                  </a:lnTo>
                  <a:lnTo>
                    <a:pt x="3129" y="1184"/>
                  </a:lnTo>
                  <a:lnTo>
                    <a:pt x="3117" y="1189"/>
                  </a:lnTo>
                  <a:lnTo>
                    <a:pt x="3105" y="1196"/>
                  </a:lnTo>
                  <a:lnTo>
                    <a:pt x="3094" y="1203"/>
                  </a:lnTo>
                  <a:lnTo>
                    <a:pt x="3083" y="1209"/>
                  </a:lnTo>
                  <a:lnTo>
                    <a:pt x="3073" y="1217"/>
                  </a:lnTo>
                  <a:lnTo>
                    <a:pt x="3063" y="1226"/>
                  </a:lnTo>
                  <a:lnTo>
                    <a:pt x="3053" y="1235"/>
                  </a:lnTo>
                  <a:lnTo>
                    <a:pt x="3044" y="1244"/>
                  </a:lnTo>
                  <a:lnTo>
                    <a:pt x="3035" y="1254"/>
                  </a:lnTo>
                  <a:lnTo>
                    <a:pt x="3027" y="1264"/>
                  </a:lnTo>
                  <a:lnTo>
                    <a:pt x="3019" y="1275"/>
                  </a:lnTo>
                  <a:lnTo>
                    <a:pt x="3013" y="1287"/>
                  </a:lnTo>
                  <a:lnTo>
                    <a:pt x="3006" y="1298"/>
                  </a:lnTo>
                  <a:lnTo>
                    <a:pt x="3003" y="1305"/>
                  </a:lnTo>
                  <a:lnTo>
                    <a:pt x="2999" y="1311"/>
                  </a:lnTo>
                  <a:lnTo>
                    <a:pt x="2995" y="1324"/>
                  </a:lnTo>
                  <a:lnTo>
                    <a:pt x="2989" y="1337"/>
                  </a:lnTo>
                  <a:lnTo>
                    <a:pt x="2986" y="1352"/>
                  </a:lnTo>
                  <a:lnTo>
                    <a:pt x="2982" y="1365"/>
                  </a:lnTo>
                  <a:lnTo>
                    <a:pt x="2979" y="1381"/>
                  </a:lnTo>
                  <a:lnTo>
                    <a:pt x="2977" y="1395"/>
                  </a:lnTo>
                  <a:lnTo>
                    <a:pt x="2975" y="1412"/>
                  </a:lnTo>
                  <a:lnTo>
                    <a:pt x="2974" y="1427"/>
                  </a:lnTo>
                  <a:lnTo>
                    <a:pt x="2974" y="1444"/>
                  </a:lnTo>
                  <a:lnTo>
                    <a:pt x="2974" y="1459"/>
                  </a:lnTo>
                  <a:lnTo>
                    <a:pt x="2975" y="1475"/>
                  </a:lnTo>
                  <a:lnTo>
                    <a:pt x="2977" y="1489"/>
                  </a:lnTo>
                  <a:lnTo>
                    <a:pt x="2979" y="1505"/>
                  </a:lnTo>
                  <a:lnTo>
                    <a:pt x="2982" y="1518"/>
                  </a:lnTo>
                  <a:lnTo>
                    <a:pt x="2986" y="1533"/>
                  </a:lnTo>
                  <a:lnTo>
                    <a:pt x="2990" y="1546"/>
                  </a:lnTo>
                  <a:lnTo>
                    <a:pt x="2993" y="1553"/>
                  </a:lnTo>
                  <a:lnTo>
                    <a:pt x="2995" y="1559"/>
                  </a:lnTo>
                  <a:lnTo>
                    <a:pt x="3000" y="1572"/>
                  </a:lnTo>
                  <a:lnTo>
                    <a:pt x="3006" y="1584"/>
                  </a:lnTo>
                  <a:lnTo>
                    <a:pt x="3013" y="1596"/>
                  </a:lnTo>
                  <a:lnTo>
                    <a:pt x="3020" y="1607"/>
                  </a:lnTo>
                  <a:lnTo>
                    <a:pt x="3028" y="1617"/>
                  </a:lnTo>
                  <a:lnTo>
                    <a:pt x="3037" y="1628"/>
                  </a:lnTo>
                  <a:lnTo>
                    <a:pt x="3046" y="1638"/>
                  </a:lnTo>
                  <a:lnTo>
                    <a:pt x="3055" y="1647"/>
                  </a:lnTo>
                  <a:lnTo>
                    <a:pt x="3065" y="1656"/>
                  </a:lnTo>
                  <a:lnTo>
                    <a:pt x="3076" y="1665"/>
                  </a:lnTo>
                  <a:lnTo>
                    <a:pt x="3086" y="1673"/>
                  </a:lnTo>
                  <a:lnTo>
                    <a:pt x="3098" y="1680"/>
                  </a:lnTo>
                  <a:lnTo>
                    <a:pt x="3110" y="1687"/>
                  </a:lnTo>
                  <a:lnTo>
                    <a:pt x="3123" y="1693"/>
                  </a:lnTo>
                  <a:lnTo>
                    <a:pt x="3135" y="1699"/>
                  </a:lnTo>
                  <a:lnTo>
                    <a:pt x="3148" y="1704"/>
                  </a:lnTo>
                  <a:lnTo>
                    <a:pt x="3163" y="1709"/>
                  </a:lnTo>
                  <a:lnTo>
                    <a:pt x="3177" y="1713"/>
                  </a:lnTo>
                  <a:lnTo>
                    <a:pt x="3191" y="1716"/>
                  </a:lnTo>
                  <a:lnTo>
                    <a:pt x="3206" y="1719"/>
                  </a:lnTo>
                  <a:lnTo>
                    <a:pt x="3221" y="1722"/>
                  </a:lnTo>
                  <a:lnTo>
                    <a:pt x="3237" y="1723"/>
                  </a:lnTo>
                  <a:lnTo>
                    <a:pt x="3254" y="1724"/>
                  </a:lnTo>
                  <a:lnTo>
                    <a:pt x="3270" y="1724"/>
                  </a:lnTo>
                  <a:lnTo>
                    <a:pt x="3287" y="1724"/>
                  </a:lnTo>
                  <a:lnTo>
                    <a:pt x="3304" y="1723"/>
                  </a:lnTo>
                  <a:lnTo>
                    <a:pt x="3319" y="1722"/>
                  </a:lnTo>
                  <a:lnTo>
                    <a:pt x="3335" y="1719"/>
                  </a:lnTo>
                  <a:lnTo>
                    <a:pt x="3350" y="1717"/>
                  </a:lnTo>
                  <a:lnTo>
                    <a:pt x="3365" y="1714"/>
                  </a:lnTo>
                  <a:lnTo>
                    <a:pt x="3379" y="1710"/>
                  </a:lnTo>
                  <a:lnTo>
                    <a:pt x="3393" y="1706"/>
                  </a:lnTo>
                  <a:lnTo>
                    <a:pt x="3406" y="1702"/>
                  </a:lnTo>
                  <a:lnTo>
                    <a:pt x="3419" y="1697"/>
                  </a:lnTo>
                  <a:lnTo>
                    <a:pt x="3445" y="1686"/>
                  </a:lnTo>
                  <a:lnTo>
                    <a:pt x="3456" y="1680"/>
                  </a:lnTo>
                  <a:lnTo>
                    <a:pt x="3468" y="1675"/>
                  </a:lnTo>
                  <a:lnTo>
                    <a:pt x="3489" y="1663"/>
                  </a:lnTo>
                  <a:lnTo>
                    <a:pt x="3426" y="1532"/>
                  </a:lnTo>
                  <a:lnTo>
                    <a:pt x="3413" y="1539"/>
                  </a:lnTo>
                  <a:lnTo>
                    <a:pt x="3397" y="1548"/>
                  </a:lnTo>
                  <a:lnTo>
                    <a:pt x="3380" y="1556"/>
                  </a:lnTo>
                  <a:lnTo>
                    <a:pt x="3361" y="1564"/>
                  </a:lnTo>
                  <a:lnTo>
                    <a:pt x="3340" y="1570"/>
                  </a:lnTo>
                  <a:lnTo>
                    <a:pt x="3330" y="1573"/>
                  </a:lnTo>
                  <a:lnTo>
                    <a:pt x="3319" y="1575"/>
                  </a:lnTo>
                  <a:lnTo>
                    <a:pt x="3308" y="1577"/>
                  </a:lnTo>
                  <a:lnTo>
                    <a:pt x="3296" y="1578"/>
                  </a:lnTo>
                  <a:lnTo>
                    <a:pt x="3285" y="1579"/>
                  </a:lnTo>
                  <a:lnTo>
                    <a:pt x="3273" y="1579"/>
                  </a:lnTo>
                  <a:lnTo>
                    <a:pt x="3259" y="1579"/>
                  </a:lnTo>
                  <a:lnTo>
                    <a:pt x="3247" y="1578"/>
                  </a:lnTo>
                  <a:lnTo>
                    <a:pt x="3235" y="1576"/>
                  </a:lnTo>
                  <a:lnTo>
                    <a:pt x="3223" y="1574"/>
                  </a:lnTo>
                  <a:lnTo>
                    <a:pt x="3217" y="1573"/>
                  </a:lnTo>
                  <a:lnTo>
                    <a:pt x="3211" y="1570"/>
                  </a:lnTo>
                  <a:lnTo>
                    <a:pt x="3201" y="1566"/>
                  </a:lnTo>
                  <a:lnTo>
                    <a:pt x="3191" y="1562"/>
                  </a:lnTo>
                  <a:lnTo>
                    <a:pt x="3183" y="1556"/>
                  </a:lnTo>
                  <a:lnTo>
                    <a:pt x="3174" y="1549"/>
                  </a:lnTo>
                  <a:lnTo>
                    <a:pt x="3166" y="1543"/>
                  </a:lnTo>
                  <a:lnTo>
                    <a:pt x="3159" y="1535"/>
                  </a:lnTo>
                  <a:lnTo>
                    <a:pt x="3153" y="1526"/>
                  </a:lnTo>
                  <a:lnTo>
                    <a:pt x="3147" y="1516"/>
                  </a:lnTo>
                  <a:lnTo>
                    <a:pt x="3143" y="1506"/>
                  </a:lnTo>
                  <a:lnTo>
                    <a:pt x="3139" y="1495"/>
                  </a:lnTo>
                  <a:lnTo>
                    <a:pt x="3138" y="1489"/>
                  </a:lnTo>
                  <a:lnTo>
                    <a:pt x="3137" y="1483"/>
                  </a:lnTo>
                  <a:lnTo>
                    <a:pt x="3517" y="1483"/>
                  </a:lnTo>
                  <a:lnTo>
                    <a:pt x="3517" y="1444"/>
                  </a:lnTo>
                  <a:lnTo>
                    <a:pt x="3517" y="1426"/>
                  </a:lnTo>
                  <a:lnTo>
                    <a:pt x="3516" y="1409"/>
                  </a:lnTo>
                  <a:lnTo>
                    <a:pt x="3515" y="1393"/>
                  </a:lnTo>
                  <a:lnTo>
                    <a:pt x="3512" y="1376"/>
                  </a:lnTo>
                  <a:lnTo>
                    <a:pt x="3509" y="1362"/>
                  </a:lnTo>
                  <a:lnTo>
                    <a:pt x="3508" y="1354"/>
                  </a:lnTo>
                  <a:lnTo>
                    <a:pt x="3507" y="1346"/>
                  </a:lnTo>
                  <a:lnTo>
                    <a:pt x="3502" y="1332"/>
                  </a:lnTo>
                  <a:lnTo>
                    <a:pt x="3498" y="1318"/>
                  </a:lnTo>
                  <a:lnTo>
                    <a:pt x="3494" y="1305"/>
                  </a:lnTo>
                  <a:lnTo>
                    <a:pt x="3488" y="1293"/>
                  </a:lnTo>
                  <a:lnTo>
                    <a:pt x="3483" y="1281"/>
                  </a:lnTo>
                  <a:lnTo>
                    <a:pt x="3476" y="1269"/>
                  </a:lnTo>
                  <a:lnTo>
                    <a:pt x="3469" y="1259"/>
                  </a:lnTo>
                  <a:lnTo>
                    <a:pt x="3461" y="1248"/>
                  </a:lnTo>
                  <a:lnTo>
                    <a:pt x="3454" y="1239"/>
                  </a:lnTo>
                  <a:lnTo>
                    <a:pt x="3446" y="1229"/>
                  </a:lnTo>
                  <a:lnTo>
                    <a:pt x="3437" y="1222"/>
                  </a:lnTo>
                  <a:lnTo>
                    <a:pt x="3427" y="1214"/>
                  </a:lnTo>
                  <a:lnTo>
                    <a:pt x="3418" y="1206"/>
                  </a:lnTo>
                  <a:lnTo>
                    <a:pt x="3407" y="1199"/>
                  </a:lnTo>
                  <a:lnTo>
                    <a:pt x="3397" y="1193"/>
                  </a:lnTo>
                  <a:lnTo>
                    <a:pt x="3386" y="1187"/>
                  </a:lnTo>
                  <a:lnTo>
                    <a:pt x="3375" y="1182"/>
                  </a:lnTo>
                  <a:lnTo>
                    <a:pt x="3363" y="1177"/>
                  </a:lnTo>
                  <a:lnTo>
                    <a:pt x="3350" y="1173"/>
                  </a:lnTo>
                  <a:lnTo>
                    <a:pt x="3337" y="1169"/>
                  </a:lnTo>
                  <a:lnTo>
                    <a:pt x="3325" y="1167"/>
                  </a:lnTo>
                  <a:lnTo>
                    <a:pt x="3311" y="1164"/>
                  </a:lnTo>
                  <a:lnTo>
                    <a:pt x="3297" y="1163"/>
                  </a:lnTo>
                  <a:lnTo>
                    <a:pt x="3284" y="1161"/>
                  </a:lnTo>
                  <a:lnTo>
                    <a:pt x="3269" y="1161"/>
                  </a:lnTo>
                  <a:lnTo>
                    <a:pt x="3254" y="1160"/>
                  </a:lnTo>
                  <a:close/>
                  <a:moveTo>
                    <a:pt x="3248" y="1283"/>
                  </a:moveTo>
                  <a:lnTo>
                    <a:pt x="3258" y="1284"/>
                  </a:lnTo>
                  <a:lnTo>
                    <a:pt x="3268" y="1285"/>
                  </a:lnTo>
                  <a:lnTo>
                    <a:pt x="3278" y="1287"/>
                  </a:lnTo>
                  <a:lnTo>
                    <a:pt x="3287" y="1289"/>
                  </a:lnTo>
                  <a:lnTo>
                    <a:pt x="3296" y="1293"/>
                  </a:lnTo>
                  <a:lnTo>
                    <a:pt x="3305" y="1297"/>
                  </a:lnTo>
                  <a:lnTo>
                    <a:pt x="3311" y="1303"/>
                  </a:lnTo>
                  <a:lnTo>
                    <a:pt x="3319" y="1308"/>
                  </a:lnTo>
                  <a:lnTo>
                    <a:pt x="3323" y="1312"/>
                  </a:lnTo>
                  <a:lnTo>
                    <a:pt x="3326" y="1315"/>
                  </a:lnTo>
                  <a:lnTo>
                    <a:pt x="3331" y="1323"/>
                  </a:lnTo>
                  <a:lnTo>
                    <a:pt x="3336" y="1331"/>
                  </a:lnTo>
                  <a:lnTo>
                    <a:pt x="3340" y="1339"/>
                  </a:lnTo>
                  <a:lnTo>
                    <a:pt x="3344" y="1348"/>
                  </a:lnTo>
                  <a:lnTo>
                    <a:pt x="3347" y="1358"/>
                  </a:lnTo>
                  <a:lnTo>
                    <a:pt x="3348" y="1364"/>
                  </a:lnTo>
                  <a:lnTo>
                    <a:pt x="3348" y="1369"/>
                  </a:lnTo>
                  <a:lnTo>
                    <a:pt x="3349" y="1375"/>
                  </a:lnTo>
                  <a:lnTo>
                    <a:pt x="3349" y="1381"/>
                  </a:lnTo>
                  <a:lnTo>
                    <a:pt x="3138" y="1381"/>
                  </a:lnTo>
                  <a:lnTo>
                    <a:pt x="3139" y="1368"/>
                  </a:lnTo>
                  <a:lnTo>
                    <a:pt x="3143" y="1357"/>
                  </a:lnTo>
                  <a:lnTo>
                    <a:pt x="3146" y="1346"/>
                  </a:lnTo>
                  <a:lnTo>
                    <a:pt x="3150" y="1336"/>
                  </a:lnTo>
                  <a:lnTo>
                    <a:pt x="3153" y="1332"/>
                  </a:lnTo>
                  <a:lnTo>
                    <a:pt x="3155" y="1327"/>
                  </a:lnTo>
                  <a:lnTo>
                    <a:pt x="3160" y="1319"/>
                  </a:lnTo>
                  <a:lnTo>
                    <a:pt x="3167" y="1313"/>
                  </a:lnTo>
                  <a:lnTo>
                    <a:pt x="3174" y="1306"/>
                  </a:lnTo>
                  <a:lnTo>
                    <a:pt x="3181" y="1301"/>
                  </a:lnTo>
                  <a:lnTo>
                    <a:pt x="3189" y="1296"/>
                  </a:lnTo>
                  <a:lnTo>
                    <a:pt x="3198" y="1292"/>
                  </a:lnTo>
                  <a:lnTo>
                    <a:pt x="3207" y="1288"/>
                  </a:lnTo>
                  <a:lnTo>
                    <a:pt x="3217" y="1286"/>
                  </a:lnTo>
                  <a:lnTo>
                    <a:pt x="3227" y="1284"/>
                  </a:lnTo>
                  <a:lnTo>
                    <a:pt x="3237" y="1283"/>
                  </a:lnTo>
                  <a:lnTo>
                    <a:pt x="3248" y="1283"/>
                  </a:lnTo>
                  <a:close/>
                  <a:moveTo>
                    <a:pt x="292" y="601"/>
                  </a:moveTo>
                  <a:lnTo>
                    <a:pt x="292" y="614"/>
                  </a:lnTo>
                  <a:lnTo>
                    <a:pt x="292" y="626"/>
                  </a:lnTo>
                  <a:lnTo>
                    <a:pt x="290" y="651"/>
                  </a:lnTo>
                  <a:lnTo>
                    <a:pt x="288" y="662"/>
                  </a:lnTo>
                  <a:lnTo>
                    <a:pt x="286" y="672"/>
                  </a:lnTo>
                  <a:lnTo>
                    <a:pt x="283" y="683"/>
                  </a:lnTo>
                  <a:lnTo>
                    <a:pt x="280" y="693"/>
                  </a:lnTo>
                  <a:lnTo>
                    <a:pt x="277" y="702"/>
                  </a:lnTo>
                  <a:lnTo>
                    <a:pt x="273" y="712"/>
                  </a:lnTo>
                  <a:lnTo>
                    <a:pt x="269" y="721"/>
                  </a:lnTo>
                  <a:lnTo>
                    <a:pt x="265" y="729"/>
                  </a:lnTo>
                  <a:lnTo>
                    <a:pt x="259" y="736"/>
                  </a:lnTo>
                  <a:lnTo>
                    <a:pt x="253" y="744"/>
                  </a:lnTo>
                  <a:lnTo>
                    <a:pt x="248" y="751"/>
                  </a:lnTo>
                  <a:lnTo>
                    <a:pt x="242" y="757"/>
                  </a:lnTo>
                  <a:lnTo>
                    <a:pt x="236" y="763"/>
                  </a:lnTo>
                  <a:lnTo>
                    <a:pt x="228" y="770"/>
                  </a:lnTo>
                  <a:lnTo>
                    <a:pt x="221" y="774"/>
                  </a:lnTo>
                  <a:lnTo>
                    <a:pt x="213" y="780"/>
                  </a:lnTo>
                  <a:lnTo>
                    <a:pt x="205" y="784"/>
                  </a:lnTo>
                  <a:lnTo>
                    <a:pt x="196" y="789"/>
                  </a:lnTo>
                  <a:lnTo>
                    <a:pt x="187" y="792"/>
                  </a:lnTo>
                  <a:lnTo>
                    <a:pt x="178" y="795"/>
                  </a:lnTo>
                  <a:lnTo>
                    <a:pt x="168" y="797"/>
                  </a:lnTo>
                  <a:lnTo>
                    <a:pt x="157" y="801"/>
                  </a:lnTo>
                  <a:lnTo>
                    <a:pt x="147" y="803"/>
                  </a:lnTo>
                  <a:lnTo>
                    <a:pt x="136" y="804"/>
                  </a:lnTo>
                  <a:lnTo>
                    <a:pt x="123" y="805"/>
                  </a:lnTo>
                  <a:lnTo>
                    <a:pt x="111" y="806"/>
                  </a:lnTo>
                  <a:lnTo>
                    <a:pt x="99" y="807"/>
                  </a:lnTo>
                  <a:lnTo>
                    <a:pt x="86" y="807"/>
                  </a:lnTo>
                  <a:lnTo>
                    <a:pt x="29" y="807"/>
                  </a:lnTo>
                  <a:lnTo>
                    <a:pt x="29" y="641"/>
                  </a:lnTo>
                  <a:lnTo>
                    <a:pt x="68" y="641"/>
                  </a:lnTo>
                  <a:lnTo>
                    <a:pt x="78" y="640"/>
                  </a:lnTo>
                  <a:lnTo>
                    <a:pt x="82" y="639"/>
                  </a:lnTo>
                  <a:lnTo>
                    <a:pt x="87" y="637"/>
                  </a:lnTo>
                  <a:lnTo>
                    <a:pt x="91" y="635"/>
                  </a:lnTo>
                  <a:lnTo>
                    <a:pt x="96" y="633"/>
                  </a:lnTo>
                  <a:lnTo>
                    <a:pt x="99" y="630"/>
                  </a:lnTo>
                  <a:lnTo>
                    <a:pt x="102" y="626"/>
                  </a:lnTo>
                  <a:lnTo>
                    <a:pt x="108" y="619"/>
                  </a:lnTo>
                  <a:lnTo>
                    <a:pt x="110" y="614"/>
                  </a:lnTo>
                  <a:lnTo>
                    <a:pt x="111" y="610"/>
                  </a:lnTo>
                  <a:lnTo>
                    <a:pt x="112" y="604"/>
                  </a:lnTo>
                  <a:lnTo>
                    <a:pt x="113" y="597"/>
                  </a:lnTo>
                  <a:lnTo>
                    <a:pt x="115" y="591"/>
                  </a:lnTo>
                  <a:lnTo>
                    <a:pt x="115" y="584"/>
                  </a:lnTo>
                  <a:lnTo>
                    <a:pt x="115" y="0"/>
                  </a:lnTo>
                  <a:lnTo>
                    <a:pt x="292" y="0"/>
                  </a:lnTo>
                  <a:lnTo>
                    <a:pt x="292" y="601"/>
                  </a:lnTo>
                  <a:close/>
                  <a:moveTo>
                    <a:pt x="929" y="539"/>
                  </a:moveTo>
                  <a:lnTo>
                    <a:pt x="929" y="554"/>
                  </a:lnTo>
                  <a:lnTo>
                    <a:pt x="928" y="570"/>
                  </a:lnTo>
                  <a:lnTo>
                    <a:pt x="925" y="584"/>
                  </a:lnTo>
                  <a:lnTo>
                    <a:pt x="923" y="600"/>
                  </a:lnTo>
                  <a:lnTo>
                    <a:pt x="920" y="614"/>
                  </a:lnTo>
                  <a:lnTo>
                    <a:pt x="917" y="627"/>
                  </a:lnTo>
                  <a:lnTo>
                    <a:pt x="912" y="641"/>
                  </a:lnTo>
                  <a:lnTo>
                    <a:pt x="907" y="654"/>
                  </a:lnTo>
                  <a:lnTo>
                    <a:pt x="901" y="667"/>
                  </a:lnTo>
                  <a:lnTo>
                    <a:pt x="894" y="680"/>
                  </a:lnTo>
                  <a:lnTo>
                    <a:pt x="888" y="691"/>
                  </a:lnTo>
                  <a:lnTo>
                    <a:pt x="880" y="703"/>
                  </a:lnTo>
                  <a:lnTo>
                    <a:pt x="872" y="713"/>
                  </a:lnTo>
                  <a:lnTo>
                    <a:pt x="863" y="724"/>
                  </a:lnTo>
                  <a:lnTo>
                    <a:pt x="854" y="734"/>
                  </a:lnTo>
                  <a:lnTo>
                    <a:pt x="844" y="743"/>
                  </a:lnTo>
                  <a:lnTo>
                    <a:pt x="834" y="753"/>
                  </a:lnTo>
                  <a:lnTo>
                    <a:pt x="823" y="761"/>
                  </a:lnTo>
                  <a:lnTo>
                    <a:pt x="812" y="769"/>
                  </a:lnTo>
                  <a:lnTo>
                    <a:pt x="800" y="776"/>
                  </a:lnTo>
                  <a:lnTo>
                    <a:pt x="789" y="783"/>
                  </a:lnTo>
                  <a:lnTo>
                    <a:pt x="776" y="790"/>
                  </a:lnTo>
                  <a:lnTo>
                    <a:pt x="763" y="795"/>
                  </a:lnTo>
                  <a:lnTo>
                    <a:pt x="750" y="801"/>
                  </a:lnTo>
                  <a:lnTo>
                    <a:pt x="736" y="805"/>
                  </a:lnTo>
                  <a:lnTo>
                    <a:pt x="722" y="810"/>
                  </a:lnTo>
                  <a:lnTo>
                    <a:pt x="708" y="813"/>
                  </a:lnTo>
                  <a:lnTo>
                    <a:pt x="692" y="816"/>
                  </a:lnTo>
                  <a:lnTo>
                    <a:pt x="678" y="819"/>
                  </a:lnTo>
                  <a:lnTo>
                    <a:pt x="662" y="820"/>
                  </a:lnTo>
                  <a:lnTo>
                    <a:pt x="647" y="821"/>
                  </a:lnTo>
                  <a:lnTo>
                    <a:pt x="630" y="821"/>
                  </a:lnTo>
                  <a:lnTo>
                    <a:pt x="614" y="821"/>
                  </a:lnTo>
                  <a:lnTo>
                    <a:pt x="599" y="820"/>
                  </a:lnTo>
                  <a:lnTo>
                    <a:pt x="583" y="819"/>
                  </a:lnTo>
                  <a:lnTo>
                    <a:pt x="568" y="816"/>
                  </a:lnTo>
                  <a:lnTo>
                    <a:pt x="553" y="813"/>
                  </a:lnTo>
                  <a:lnTo>
                    <a:pt x="539" y="810"/>
                  </a:lnTo>
                  <a:lnTo>
                    <a:pt x="526" y="805"/>
                  </a:lnTo>
                  <a:lnTo>
                    <a:pt x="511" y="801"/>
                  </a:lnTo>
                  <a:lnTo>
                    <a:pt x="498" y="795"/>
                  </a:lnTo>
                  <a:lnTo>
                    <a:pt x="486" y="790"/>
                  </a:lnTo>
                  <a:lnTo>
                    <a:pt x="473" y="783"/>
                  </a:lnTo>
                  <a:lnTo>
                    <a:pt x="461" y="776"/>
                  </a:lnTo>
                  <a:lnTo>
                    <a:pt x="449" y="769"/>
                  </a:lnTo>
                  <a:lnTo>
                    <a:pt x="438" y="761"/>
                  </a:lnTo>
                  <a:lnTo>
                    <a:pt x="428" y="753"/>
                  </a:lnTo>
                  <a:lnTo>
                    <a:pt x="417" y="743"/>
                  </a:lnTo>
                  <a:lnTo>
                    <a:pt x="408" y="734"/>
                  </a:lnTo>
                  <a:lnTo>
                    <a:pt x="398" y="724"/>
                  </a:lnTo>
                  <a:lnTo>
                    <a:pt x="390" y="713"/>
                  </a:lnTo>
                  <a:lnTo>
                    <a:pt x="381" y="703"/>
                  </a:lnTo>
                  <a:lnTo>
                    <a:pt x="375" y="691"/>
                  </a:lnTo>
                  <a:lnTo>
                    <a:pt x="367" y="680"/>
                  </a:lnTo>
                  <a:lnTo>
                    <a:pt x="361" y="667"/>
                  </a:lnTo>
                  <a:lnTo>
                    <a:pt x="355" y="654"/>
                  </a:lnTo>
                  <a:lnTo>
                    <a:pt x="350" y="641"/>
                  </a:lnTo>
                  <a:lnTo>
                    <a:pt x="346" y="627"/>
                  </a:lnTo>
                  <a:lnTo>
                    <a:pt x="341" y="614"/>
                  </a:lnTo>
                  <a:lnTo>
                    <a:pt x="338" y="600"/>
                  </a:lnTo>
                  <a:lnTo>
                    <a:pt x="336" y="584"/>
                  </a:lnTo>
                  <a:lnTo>
                    <a:pt x="335" y="570"/>
                  </a:lnTo>
                  <a:lnTo>
                    <a:pt x="333" y="554"/>
                  </a:lnTo>
                  <a:lnTo>
                    <a:pt x="332" y="539"/>
                  </a:lnTo>
                  <a:lnTo>
                    <a:pt x="333" y="523"/>
                  </a:lnTo>
                  <a:lnTo>
                    <a:pt x="335" y="508"/>
                  </a:lnTo>
                  <a:lnTo>
                    <a:pt x="336" y="492"/>
                  </a:lnTo>
                  <a:lnTo>
                    <a:pt x="338" y="478"/>
                  </a:lnTo>
                  <a:lnTo>
                    <a:pt x="341" y="463"/>
                  </a:lnTo>
                  <a:lnTo>
                    <a:pt x="346" y="449"/>
                  </a:lnTo>
                  <a:lnTo>
                    <a:pt x="350" y="435"/>
                  </a:lnTo>
                  <a:lnTo>
                    <a:pt x="355" y="422"/>
                  </a:lnTo>
                  <a:lnTo>
                    <a:pt x="361" y="410"/>
                  </a:lnTo>
                  <a:lnTo>
                    <a:pt x="367" y="398"/>
                  </a:lnTo>
                  <a:lnTo>
                    <a:pt x="375" y="385"/>
                  </a:lnTo>
                  <a:lnTo>
                    <a:pt x="381" y="374"/>
                  </a:lnTo>
                  <a:lnTo>
                    <a:pt x="390" y="363"/>
                  </a:lnTo>
                  <a:lnTo>
                    <a:pt x="398" y="353"/>
                  </a:lnTo>
                  <a:lnTo>
                    <a:pt x="408" y="343"/>
                  </a:lnTo>
                  <a:lnTo>
                    <a:pt x="417" y="333"/>
                  </a:lnTo>
                  <a:lnTo>
                    <a:pt x="428" y="324"/>
                  </a:lnTo>
                  <a:lnTo>
                    <a:pt x="438" y="315"/>
                  </a:lnTo>
                  <a:lnTo>
                    <a:pt x="449" y="308"/>
                  </a:lnTo>
                  <a:lnTo>
                    <a:pt x="461" y="300"/>
                  </a:lnTo>
                  <a:lnTo>
                    <a:pt x="473" y="293"/>
                  </a:lnTo>
                  <a:lnTo>
                    <a:pt x="486" y="288"/>
                  </a:lnTo>
                  <a:lnTo>
                    <a:pt x="498" y="281"/>
                  </a:lnTo>
                  <a:lnTo>
                    <a:pt x="511" y="276"/>
                  </a:lnTo>
                  <a:lnTo>
                    <a:pt x="526" y="271"/>
                  </a:lnTo>
                  <a:lnTo>
                    <a:pt x="539" y="268"/>
                  </a:lnTo>
                  <a:lnTo>
                    <a:pt x="553" y="264"/>
                  </a:lnTo>
                  <a:lnTo>
                    <a:pt x="568" y="261"/>
                  </a:lnTo>
                  <a:lnTo>
                    <a:pt x="583" y="259"/>
                  </a:lnTo>
                  <a:lnTo>
                    <a:pt x="599" y="258"/>
                  </a:lnTo>
                  <a:lnTo>
                    <a:pt x="614" y="256"/>
                  </a:lnTo>
                  <a:lnTo>
                    <a:pt x="630" y="255"/>
                  </a:lnTo>
                  <a:lnTo>
                    <a:pt x="647" y="256"/>
                  </a:lnTo>
                  <a:lnTo>
                    <a:pt x="662" y="258"/>
                  </a:lnTo>
                  <a:lnTo>
                    <a:pt x="678" y="259"/>
                  </a:lnTo>
                  <a:lnTo>
                    <a:pt x="692" y="261"/>
                  </a:lnTo>
                  <a:lnTo>
                    <a:pt x="708" y="264"/>
                  </a:lnTo>
                  <a:lnTo>
                    <a:pt x="722" y="268"/>
                  </a:lnTo>
                  <a:lnTo>
                    <a:pt x="736" y="271"/>
                  </a:lnTo>
                  <a:lnTo>
                    <a:pt x="750" y="276"/>
                  </a:lnTo>
                  <a:lnTo>
                    <a:pt x="763" y="281"/>
                  </a:lnTo>
                  <a:lnTo>
                    <a:pt x="776" y="288"/>
                  </a:lnTo>
                  <a:lnTo>
                    <a:pt x="789" y="293"/>
                  </a:lnTo>
                  <a:lnTo>
                    <a:pt x="800" y="300"/>
                  </a:lnTo>
                  <a:lnTo>
                    <a:pt x="812" y="308"/>
                  </a:lnTo>
                  <a:lnTo>
                    <a:pt x="823" y="315"/>
                  </a:lnTo>
                  <a:lnTo>
                    <a:pt x="834" y="324"/>
                  </a:lnTo>
                  <a:lnTo>
                    <a:pt x="844" y="333"/>
                  </a:lnTo>
                  <a:lnTo>
                    <a:pt x="854" y="343"/>
                  </a:lnTo>
                  <a:lnTo>
                    <a:pt x="863" y="353"/>
                  </a:lnTo>
                  <a:lnTo>
                    <a:pt x="872" y="363"/>
                  </a:lnTo>
                  <a:lnTo>
                    <a:pt x="880" y="374"/>
                  </a:lnTo>
                  <a:lnTo>
                    <a:pt x="888" y="385"/>
                  </a:lnTo>
                  <a:lnTo>
                    <a:pt x="894" y="398"/>
                  </a:lnTo>
                  <a:lnTo>
                    <a:pt x="901" y="410"/>
                  </a:lnTo>
                  <a:lnTo>
                    <a:pt x="907" y="422"/>
                  </a:lnTo>
                  <a:lnTo>
                    <a:pt x="912" y="435"/>
                  </a:lnTo>
                  <a:lnTo>
                    <a:pt x="917" y="449"/>
                  </a:lnTo>
                  <a:lnTo>
                    <a:pt x="920" y="463"/>
                  </a:lnTo>
                  <a:lnTo>
                    <a:pt x="923" y="478"/>
                  </a:lnTo>
                  <a:lnTo>
                    <a:pt x="925" y="492"/>
                  </a:lnTo>
                  <a:lnTo>
                    <a:pt x="928" y="508"/>
                  </a:lnTo>
                  <a:lnTo>
                    <a:pt x="929" y="523"/>
                  </a:lnTo>
                  <a:lnTo>
                    <a:pt x="929" y="539"/>
                  </a:lnTo>
                  <a:close/>
                  <a:moveTo>
                    <a:pt x="506" y="539"/>
                  </a:moveTo>
                  <a:lnTo>
                    <a:pt x="507" y="552"/>
                  </a:lnTo>
                  <a:lnTo>
                    <a:pt x="509" y="565"/>
                  </a:lnTo>
                  <a:lnTo>
                    <a:pt x="511" y="577"/>
                  </a:lnTo>
                  <a:lnTo>
                    <a:pt x="513" y="584"/>
                  </a:lnTo>
                  <a:lnTo>
                    <a:pt x="516" y="590"/>
                  </a:lnTo>
                  <a:lnTo>
                    <a:pt x="521" y="601"/>
                  </a:lnTo>
                  <a:lnTo>
                    <a:pt x="527" y="611"/>
                  </a:lnTo>
                  <a:lnTo>
                    <a:pt x="534" y="621"/>
                  </a:lnTo>
                  <a:lnTo>
                    <a:pt x="542" y="629"/>
                  </a:lnTo>
                  <a:lnTo>
                    <a:pt x="547" y="633"/>
                  </a:lnTo>
                  <a:lnTo>
                    <a:pt x="551" y="636"/>
                  </a:lnTo>
                  <a:lnTo>
                    <a:pt x="556" y="640"/>
                  </a:lnTo>
                  <a:lnTo>
                    <a:pt x="561" y="643"/>
                  </a:lnTo>
                  <a:lnTo>
                    <a:pt x="571" y="649"/>
                  </a:lnTo>
                  <a:lnTo>
                    <a:pt x="582" y="654"/>
                  </a:lnTo>
                  <a:lnTo>
                    <a:pt x="593" y="657"/>
                  </a:lnTo>
                  <a:lnTo>
                    <a:pt x="606" y="661"/>
                  </a:lnTo>
                  <a:lnTo>
                    <a:pt x="611" y="661"/>
                  </a:lnTo>
                  <a:lnTo>
                    <a:pt x="618" y="662"/>
                  </a:lnTo>
                  <a:lnTo>
                    <a:pt x="630" y="663"/>
                  </a:lnTo>
                  <a:lnTo>
                    <a:pt x="643" y="662"/>
                  </a:lnTo>
                  <a:lnTo>
                    <a:pt x="656" y="661"/>
                  </a:lnTo>
                  <a:lnTo>
                    <a:pt x="668" y="657"/>
                  </a:lnTo>
                  <a:lnTo>
                    <a:pt x="673" y="656"/>
                  </a:lnTo>
                  <a:lnTo>
                    <a:pt x="679" y="654"/>
                  </a:lnTo>
                  <a:lnTo>
                    <a:pt x="690" y="649"/>
                  </a:lnTo>
                  <a:lnTo>
                    <a:pt x="696" y="646"/>
                  </a:lnTo>
                  <a:lnTo>
                    <a:pt x="700" y="643"/>
                  </a:lnTo>
                  <a:lnTo>
                    <a:pt x="706" y="640"/>
                  </a:lnTo>
                  <a:lnTo>
                    <a:pt x="710" y="636"/>
                  </a:lnTo>
                  <a:lnTo>
                    <a:pt x="719" y="629"/>
                  </a:lnTo>
                  <a:lnTo>
                    <a:pt x="727" y="621"/>
                  </a:lnTo>
                  <a:lnTo>
                    <a:pt x="733" y="611"/>
                  </a:lnTo>
                  <a:lnTo>
                    <a:pt x="740" y="601"/>
                  </a:lnTo>
                  <a:lnTo>
                    <a:pt x="742" y="595"/>
                  </a:lnTo>
                  <a:lnTo>
                    <a:pt x="744" y="590"/>
                  </a:lnTo>
                  <a:lnTo>
                    <a:pt x="749" y="577"/>
                  </a:lnTo>
                  <a:lnTo>
                    <a:pt x="752" y="565"/>
                  </a:lnTo>
                  <a:lnTo>
                    <a:pt x="753" y="552"/>
                  </a:lnTo>
                  <a:lnTo>
                    <a:pt x="754" y="539"/>
                  </a:lnTo>
                  <a:lnTo>
                    <a:pt x="753" y="524"/>
                  </a:lnTo>
                  <a:lnTo>
                    <a:pt x="753" y="517"/>
                  </a:lnTo>
                  <a:lnTo>
                    <a:pt x="752" y="511"/>
                  </a:lnTo>
                  <a:lnTo>
                    <a:pt x="749" y="499"/>
                  </a:lnTo>
                  <a:lnTo>
                    <a:pt x="747" y="493"/>
                  </a:lnTo>
                  <a:lnTo>
                    <a:pt x="744" y="488"/>
                  </a:lnTo>
                  <a:lnTo>
                    <a:pt x="740" y="476"/>
                  </a:lnTo>
                  <a:lnTo>
                    <a:pt x="733" y="465"/>
                  </a:lnTo>
                  <a:lnTo>
                    <a:pt x="727" y="456"/>
                  </a:lnTo>
                  <a:lnTo>
                    <a:pt x="719" y="448"/>
                  </a:lnTo>
                  <a:lnTo>
                    <a:pt x="714" y="444"/>
                  </a:lnTo>
                  <a:lnTo>
                    <a:pt x="710" y="440"/>
                  </a:lnTo>
                  <a:lnTo>
                    <a:pt x="706" y="436"/>
                  </a:lnTo>
                  <a:lnTo>
                    <a:pt x="700" y="433"/>
                  </a:lnTo>
                  <a:lnTo>
                    <a:pt x="690" y="428"/>
                  </a:lnTo>
                  <a:lnTo>
                    <a:pt x="679" y="423"/>
                  </a:lnTo>
                  <a:lnTo>
                    <a:pt x="668" y="420"/>
                  </a:lnTo>
                  <a:lnTo>
                    <a:pt x="656" y="416"/>
                  </a:lnTo>
                  <a:lnTo>
                    <a:pt x="643" y="415"/>
                  </a:lnTo>
                  <a:lnTo>
                    <a:pt x="630" y="414"/>
                  </a:lnTo>
                  <a:lnTo>
                    <a:pt x="618" y="415"/>
                  </a:lnTo>
                  <a:lnTo>
                    <a:pt x="606" y="416"/>
                  </a:lnTo>
                  <a:lnTo>
                    <a:pt x="593" y="420"/>
                  </a:lnTo>
                  <a:lnTo>
                    <a:pt x="588" y="421"/>
                  </a:lnTo>
                  <a:lnTo>
                    <a:pt x="582" y="423"/>
                  </a:lnTo>
                  <a:lnTo>
                    <a:pt x="571" y="428"/>
                  </a:lnTo>
                  <a:lnTo>
                    <a:pt x="566" y="431"/>
                  </a:lnTo>
                  <a:lnTo>
                    <a:pt x="561" y="433"/>
                  </a:lnTo>
                  <a:lnTo>
                    <a:pt x="556" y="436"/>
                  </a:lnTo>
                  <a:lnTo>
                    <a:pt x="551" y="440"/>
                  </a:lnTo>
                  <a:lnTo>
                    <a:pt x="542" y="448"/>
                  </a:lnTo>
                  <a:lnTo>
                    <a:pt x="534" y="456"/>
                  </a:lnTo>
                  <a:lnTo>
                    <a:pt x="527" y="465"/>
                  </a:lnTo>
                  <a:lnTo>
                    <a:pt x="521" y="476"/>
                  </a:lnTo>
                  <a:lnTo>
                    <a:pt x="516" y="488"/>
                  </a:lnTo>
                  <a:lnTo>
                    <a:pt x="511" y="499"/>
                  </a:lnTo>
                  <a:lnTo>
                    <a:pt x="509" y="511"/>
                  </a:lnTo>
                  <a:lnTo>
                    <a:pt x="507" y="524"/>
                  </a:lnTo>
                  <a:lnTo>
                    <a:pt x="507" y="531"/>
                  </a:lnTo>
                  <a:lnTo>
                    <a:pt x="506" y="539"/>
                  </a:lnTo>
                  <a:close/>
                  <a:moveTo>
                    <a:pt x="1145" y="175"/>
                  </a:moveTo>
                  <a:lnTo>
                    <a:pt x="959" y="175"/>
                  </a:lnTo>
                  <a:lnTo>
                    <a:pt x="959" y="1"/>
                  </a:lnTo>
                  <a:lnTo>
                    <a:pt x="1145" y="1"/>
                  </a:lnTo>
                  <a:lnTo>
                    <a:pt x="1145" y="175"/>
                  </a:lnTo>
                  <a:close/>
                  <a:moveTo>
                    <a:pt x="965" y="273"/>
                  </a:moveTo>
                  <a:lnTo>
                    <a:pt x="1139" y="273"/>
                  </a:lnTo>
                  <a:lnTo>
                    <a:pt x="1139" y="804"/>
                  </a:lnTo>
                  <a:lnTo>
                    <a:pt x="965" y="804"/>
                  </a:lnTo>
                  <a:lnTo>
                    <a:pt x="965" y="273"/>
                  </a:lnTo>
                  <a:close/>
                  <a:moveTo>
                    <a:pt x="1750" y="475"/>
                  </a:moveTo>
                  <a:lnTo>
                    <a:pt x="1750" y="804"/>
                  </a:lnTo>
                  <a:lnTo>
                    <a:pt x="1578" y="804"/>
                  </a:lnTo>
                  <a:lnTo>
                    <a:pt x="1578" y="523"/>
                  </a:lnTo>
                  <a:lnTo>
                    <a:pt x="1576" y="509"/>
                  </a:lnTo>
                  <a:lnTo>
                    <a:pt x="1575" y="495"/>
                  </a:lnTo>
                  <a:lnTo>
                    <a:pt x="1573" y="483"/>
                  </a:lnTo>
                  <a:lnTo>
                    <a:pt x="1571" y="472"/>
                  </a:lnTo>
                  <a:lnTo>
                    <a:pt x="1568" y="462"/>
                  </a:lnTo>
                  <a:lnTo>
                    <a:pt x="1563" y="452"/>
                  </a:lnTo>
                  <a:lnTo>
                    <a:pt x="1559" y="444"/>
                  </a:lnTo>
                  <a:lnTo>
                    <a:pt x="1555" y="440"/>
                  </a:lnTo>
                  <a:lnTo>
                    <a:pt x="1552" y="436"/>
                  </a:lnTo>
                  <a:lnTo>
                    <a:pt x="1546" y="430"/>
                  </a:lnTo>
                  <a:lnTo>
                    <a:pt x="1539" y="424"/>
                  </a:lnTo>
                  <a:lnTo>
                    <a:pt x="1531" y="420"/>
                  </a:lnTo>
                  <a:lnTo>
                    <a:pt x="1522" y="415"/>
                  </a:lnTo>
                  <a:lnTo>
                    <a:pt x="1512" y="412"/>
                  </a:lnTo>
                  <a:lnTo>
                    <a:pt x="1502" y="410"/>
                  </a:lnTo>
                  <a:lnTo>
                    <a:pt x="1491" y="409"/>
                  </a:lnTo>
                  <a:lnTo>
                    <a:pt x="1480" y="409"/>
                  </a:lnTo>
                  <a:lnTo>
                    <a:pt x="1469" y="409"/>
                  </a:lnTo>
                  <a:lnTo>
                    <a:pt x="1463" y="410"/>
                  </a:lnTo>
                  <a:lnTo>
                    <a:pt x="1459" y="410"/>
                  </a:lnTo>
                  <a:lnTo>
                    <a:pt x="1449" y="412"/>
                  </a:lnTo>
                  <a:lnTo>
                    <a:pt x="1439" y="415"/>
                  </a:lnTo>
                  <a:lnTo>
                    <a:pt x="1430" y="420"/>
                  </a:lnTo>
                  <a:lnTo>
                    <a:pt x="1425" y="422"/>
                  </a:lnTo>
                  <a:lnTo>
                    <a:pt x="1421" y="424"/>
                  </a:lnTo>
                  <a:lnTo>
                    <a:pt x="1413" y="431"/>
                  </a:lnTo>
                  <a:lnTo>
                    <a:pt x="1410" y="434"/>
                  </a:lnTo>
                  <a:lnTo>
                    <a:pt x="1406" y="438"/>
                  </a:lnTo>
                  <a:lnTo>
                    <a:pt x="1403" y="442"/>
                  </a:lnTo>
                  <a:lnTo>
                    <a:pt x="1400" y="445"/>
                  </a:lnTo>
                  <a:lnTo>
                    <a:pt x="1394" y="455"/>
                  </a:lnTo>
                  <a:lnTo>
                    <a:pt x="1389" y="465"/>
                  </a:lnTo>
                  <a:lnTo>
                    <a:pt x="1386" y="471"/>
                  </a:lnTo>
                  <a:lnTo>
                    <a:pt x="1385" y="478"/>
                  </a:lnTo>
                  <a:lnTo>
                    <a:pt x="1383" y="484"/>
                  </a:lnTo>
                  <a:lnTo>
                    <a:pt x="1382" y="491"/>
                  </a:lnTo>
                  <a:lnTo>
                    <a:pt x="1379" y="504"/>
                  </a:lnTo>
                  <a:lnTo>
                    <a:pt x="1378" y="520"/>
                  </a:lnTo>
                  <a:lnTo>
                    <a:pt x="1378" y="537"/>
                  </a:lnTo>
                  <a:lnTo>
                    <a:pt x="1378" y="804"/>
                  </a:lnTo>
                  <a:lnTo>
                    <a:pt x="1203" y="804"/>
                  </a:lnTo>
                  <a:lnTo>
                    <a:pt x="1203" y="273"/>
                  </a:lnTo>
                  <a:lnTo>
                    <a:pt x="1374" y="273"/>
                  </a:lnTo>
                  <a:lnTo>
                    <a:pt x="1374" y="353"/>
                  </a:lnTo>
                  <a:lnTo>
                    <a:pt x="1376" y="353"/>
                  </a:lnTo>
                  <a:lnTo>
                    <a:pt x="1383" y="342"/>
                  </a:lnTo>
                  <a:lnTo>
                    <a:pt x="1391" y="331"/>
                  </a:lnTo>
                  <a:lnTo>
                    <a:pt x="1400" y="321"/>
                  </a:lnTo>
                  <a:lnTo>
                    <a:pt x="1409" y="312"/>
                  </a:lnTo>
                  <a:lnTo>
                    <a:pt x="1418" y="303"/>
                  </a:lnTo>
                  <a:lnTo>
                    <a:pt x="1422" y="299"/>
                  </a:lnTo>
                  <a:lnTo>
                    <a:pt x="1428" y="295"/>
                  </a:lnTo>
                  <a:lnTo>
                    <a:pt x="1438" y="288"/>
                  </a:lnTo>
                  <a:lnTo>
                    <a:pt x="1449" y="281"/>
                  </a:lnTo>
                  <a:lnTo>
                    <a:pt x="1460" y="275"/>
                  </a:lnTo>
                  <a:lnTo>
                    <a:pt x="1472" y="270"/>
                  </a:lnTo>
                  <a:lnTo>
                    <a:pt x="1483" y="265"/>
                  </a:lnTo>
                  <a:lnTo>
                    <a:pt x="1496" y="262"/>
                  </a:lnTo>
                  <a:lnTo>
                    <a:pt x="1509" y="260"/>
                  </a:lnTo>
                  <a:lnTo>
                    <a:pt x="1522" y="258"/>
                  </a:lnTo>
                  <a:lnTo>
                    <a:pt x="1535" y="256"/>
                  </a:lnTo>
                  <a:lnTo>
                    <a:pt x="1550" y="255"/>
                  </a:lnTo>
                  <a:lnTo>
                    <a:pt x="1571" y="256"/>
                  </a:lnTo>
                  <a:lnTo>
                    <a:pt x="1582" y="258"/>
                  </a:lnTo>
                  <a:lnTo>
                    <a:pt x="1592" y="259"/>
                  </a:lnTo>
                  <a:lnTo>
                    <a:pt x="1602" y="261"/>
                  </a:lnTo>
                  <a:lnTo>
                    <a:pt x="1612" y="263"/>
                  </a:lnTo>
                  <a:lnTo>
                    <a:pt x="1621" y="265"/>
                  </a:lnTo>
                  <a:lnTo>
                    <a:pt x="1630" y="269"/>
                  </a:lnTo>
                  <a:lnTo>
                    <a:pt x="1640" y="272"/>
                  </a:lnTo>
                  <a:lnTo>
                    <a:pt x="1647" y="276"/>
                  </a:lnTo>
                  <a:lnTo>
                    <a:pt x="1656" y="281"/>
                  </a:lnTo>
                  <a:lnTo>
                    <a:pt x="1664" y="285"/>
                  </a:lnTo>
                  <a:lnTo>
                    <a:pt x="1672" y="291"/>
                  </a:lnTo>
                  <a:lnTo>
                    <a:pt x="1680" y="296"/>
                  </a:lnTo>
                  <a:lnTo>
                    <a:pt x="1686" y="302"/>
                  </a:lnTo>
                  <a:lnTo>
                    <a:pt x="1693" y="309"/>
                  </a:lnTo>
                  <a:lnTo>
                    <a:pt x="1700" y="315"/>
                  </a:lnTo>
                  <a:lnTo>
                    <a:pt x="1706" y="323"/>
                  </a:lnTo>
                  <a:lnTo>
                    <a:pt x="1712" y="331"/>
                  </a:lnTo>
                  <a:lnTo>
                    <a:pt x="1717" y="339"/>
                  </a:lnTo>
                  <a:lnTo>
                    <a:pt x="1722" y="348"/>
                  </a:lnTo>
                  <a:lnTo>
                    <a:pt x="1726" y="358"/>
                  </a:lnTo>
                  <a:lnTo>
                    <a:pt x="1731" y="366"/>
                  </a:lnTo>
                  <a:lnTo>
                    <a:pt x="1735" y="376"/>
                  </a:lnTo>
                  <a:lnTo>
                    <a:pt x="1739" y="388"/>
                  </a:lnTo>
                  <a:lnTo>
                    <a:pt x="1741" y="399"/>
                  </a:lnTo>
                  <a:lnTo>
                    <a:pt x="1744" y="410"/>
                  </a:lnTo>
                  <a:lnTo>
                    <a:pt x="1745" y="422"/>
                  </a:lnTo>
                  <a:lnTo>
                    <a:pt x="1747" y="434"/>
                  </a:lnTo>
                  <a:lnTo>
                    <a:pt x="1749" y="448"/>
                  </a:lnTo>
                  <a:lnTo>
                    <a:pt x="1750" y="461"/>
                  </a:lnTo>
                  <a:lnTo>
                    <a:pt x="1750" y="475"/>
                  </a:lnTo>
                  <a:close/>
                  <a:moveTo>
                    <a:pt x="2235" y="418"/>
                  </a:moveTo>
                  <a:lnTo>
                    <a:pt x="2235" y="577"/>
                  </a:lnTo>
                  <a:lnTo>
                    <a:pt x="2236" y="594"/>
                  </a:lnTo>
                  <a:lnTo>
                    <a:pt x="2238" y="609"/>
                  </a:lnTo>
                  <a:lnTo>
                    <a:pt x="2240" y="614"/>
                  </a:lnTo>
                  <a:lnTo>
                    <a:pt x="2242" y="620"/>
                  </a:lnTo>
                  <a:lnTo>
                    <a:pt x="2244" y="624"/>
                  </a:lnTo>
                  <a:lnTo>
                    <a:pt x="2247" y="629"/>
                  </a:lnTo>
                  <a:lnTo>
                    <a:pt x="2251" y="632"/>
                  </a:lnTo>
                  <a:lnTo>
                    <a:pt x="2255" y="635"/>
                  </a:lnTo>
                  <a:lnTo>
                    <a:pt x="2260" y="637"/>
                  </a:lnTo>
                  <a:lnTo>
                    <a:pt x="2265" y="640"/>
                  </a:lnTo>
                  <a:lnTo>
                    <a:pt x="2271" y="641"/>
                  </a:lnTo>
                  <a:lnTo>
                    <a:pt x="2277" y="642"/>
                  </a:lnTo>
                  <a:lnTo>
                    <a:pt x="2285" y="643"/>
                  </a:lnTo>
                  <a:lnTo>
                    <a:pt x="2293" y="643"/>
                  </a:lnTo>
                  <a:lnTo>
                    <a:pt x="2313" y="643"/>
                  </a:lnTo>
                  <a:lnTo>
                    <a:pt x="2313" y="804"/>
                  </a:lnTo>
                  <a:lnTo>
                    <a:pt x="2240" y="804"/>
                  </a:lnTo>
                  <a:lnTo>
                    <a:pt x="2221" y="803"/>
                  </a:lnTo>
                  <a:lnTo>
                    <a:pt x="2211" y="803"/>
                  </a:lnTo>
                  <a:lnTo>
                    <a:pt x="2202" y="802"/>
                  </a:lnTo>
                  <a:lnTo>
                    <a:pt x="2184" y="799"/>
                  </a:lnTo>
                  <a:lnTo>
                    <a:pt x="2166" y="794"/>
                  </a:lnTo>
                  <a:lnTo>
                    <a:pt x="2158" y="791"/>
                  </a:lnTo>
                  <a:lnTo>
                    <a:pt x="2151" y="787"/>
                  </a:lnTo>
                  <a:lnTo>
                    <a:pt x="2143" y="784"/>
                  </a:lnTo>
                  <a:lnTo>
                    <a:pt x="2136" y="781"/>
                  </a:lnTo>
                  <a:lnTo>
                    <a:pt x="2130" y="776"/>
                  </a:lnTo>
                  <a:lnTo>
                    <a:pt x="2123" y="772"/>
                  </a:lnTo>
                  <a:lnTo>
                    <a:pt x="2116" y="767"/>
                  </a:lnTo>
                  <a:lnTo>
                    <a:pt x="2111" y="762"/>
                  </a:lnTo>
                  <a:lnTo>
                    <a:pt x="2105" y="756"/>
                  </a:lnTo>
                  <a:lnTo>
                    <a:pt x="2100" y="751"/>
                  </a:lnTo>
                  <a:lnTo>
                    <a:pt x="2090" y="737"/>
                  </a:lnTo>
                  <a:lnTo>
                    <a:pt x="2085" y="730"/>
                  </a:lnTo>
                  <a:lnTo>
                    <a:pt x="2082" y="723"/>
                  </a:lnTo>
                  <a:lnTo>
                    <a:pt x="2075" y="706"/>
                  </a:lnTo>
                  <a:lnTo>
                    <a:pt x="2070" y="689"/>
                  </a:lnTo>
                  <a:lnTo>
                    <a:pt x="2067" y="679"/>
                  </a:lnTo>
                  <a:lnTo>
                    <a:pt x="2065" y="669"/>
                  </a:lnTo>
                  <a:lnTo>
                    <a:pt x="2064" y="659"/>
                  </a:lnTo>
                  <a:lnTo>
                    <a:pt x="2063" y="647"/>
                  </a:lnTo>
                  <a:lnTo>
                    <a:pt x="2062" y="636"/>
                  </a:lnTo>
                  <a:lnTo>
                    <a:pt x="2062" y="624"/>
                  </a:lnTo>
                  <a:lnTo>
                    <a:pt x="2062" y="418"/>
                  </a:lnTo>
                  <a:lnTo>
                    <a:pt x="1959" y="418"/>
                  </a:lnTo>
                  <a:lnTo>
                    <a:pt x="1959" y="273"/>
                  </a:lnTo>
                  <a:lnTo>
                    <a:pt x="2062" y="273"/>
                  </a:lnTo>
                  <a:lnTo>
                    <a:pt x="2062" y="60"/>
                  </a:lnTo>
                  <a:lnTo>
                    <a:pt x="2235" y="60"/>
                  </a:lnTo>
                  <a:lnTo>
                    <a:pt x="2235" y="273"/>
                  </a:lnTo>
                  <a:lnTo>
                    <a:pt x="2345" y="273"/>
                  </a:lnTo>
                  <a:lnTo>
                    <a:pt x="2345" y="418"/>
                  </a:lnTo>
                  <a:lnTo>
                    <a:pt x="2235" y="418"/>
                  </a:lnTo>
                  <a:close/>
                  <a:moveTo>
                    <a:pt x="2556" y="343"/>
                  </a:moveTo>
                  <a:lnTo>
                    <a:pt x="2558" y="343"/>
                  </a:lnTo>
                  <a:lnTo>
                    <a:pt x="2565" y="333"/>
                  </a:lnTo>
                  <a:lnTo>
                    <a:pt x="2573" y="323"/>
                  </a:lnTo>
                  <a:lnTo>
                    <a:pt x="2581" y="314"/>
                  </a:lnTo>
                  <a:lnTo>
                    <a:pt x="2585" y="310"/>
                  </a:lnTo>
                  <a:lnTo>
                    <a:pt x="2589" y="305"/>
                  </a:lnTo>
                  <a:lnTo>
                    <a:pt x="2598" y="298"/>
                  </a:lnTo>
                  <a:lnTo>
                    <a:pt x="2608" y="291"/>
                  </a:lnTo>
                  <a:lnTo>
                    <a:pt x="2618" y="284"/>
                  </a:lnTo>
                  <a:lnTo>
                    <a:pt x="2628" y="279"/>
                  </a:lnTo>
                  <a:lnTo>
                    <a:pt x="2639" y="273"/>
                  </a:lnTo>
                  <a:lnTo>
                    <a:pt x="2651" y="269"/>
                  </a:lnTo>
                  <a:lnTo>
                    <a:pt x="2663" y="264"/>
                  </a:lnTo>
                  <a:lnTo>
                    <a:pt x="2675" y="261"/>
                  </a:lnTo>
                  <a:lnTo>
                    <a:pt x="2687" y="259"/>
                  </a:lnTo>
                  <a:lnTo>
                    <a:pt x="2694" y="258"/>
                  </a:lnTo>
                  <a:lnTo>
                    <a:pt x="2701" y="258"/>
                  </a:lnTo>
                  <a:lnTo>
                    <a:pt x="2714" y="256"/>
                  </a:lnTo>
                  <a:lnTo>
                    <a:pt x="2728" y="255"/>
                  </a:lnTo>
                  <a:lnTo>
                    <a:pt x="2749" y="256"/>
                  </a:lnTo>
                  <a:lnTo>
                    <a:pt x="2760" y="258"/>
                  </a:lnTo>
                  <a:lnTo>
                    <a:pt x="2770" y="259"/>
                  </a:lnTo>
                  <a:lnTo>
                    <a:pt x="2780" y="261"/>
                  </a:lnTo>
                  <a:lnTo>
                    <a:pt x="2790" y="263"/>
                  </a:lnTo>
                  <a:lnTo>
                    <a:pt x="2799" y="265"/>
                  </a:lnTo>
                  <a:lnTo>
                    <a:pt x="2809" y="269"/>
                  </a:lnTo>
                  <a:lnTo>
                    <a:pt x="2818" y="272"/>
                  </a:lnTo>
                  <a:lnTo>
                    <a:pt x="2826" y="276"/>
                  </a:lnTo>
                  <a:lnTo>
                    <a:pt x="2835" y="281"/>
                  </a:lnTo>
                  <a:lnTo>
                    <a:pt x="2843" y="285"/>
                  </a:lnTo>
                  <a:lnTo>
                    <a:pt x="2850" y="291"/>
                  </a:lnTo>
                  <a:lnTo>
                    <a:pt x="2858" y="296"/>
                  </a:lnTo>
                  <a:lnTo>
                    <a:pt x="2865" y="302"/>
                  </a:lnTo>
                  <a:lnTo>
                    <a:pt x="2872" y="309"/>
                  </a:lnTo>
                  <a:lnTo>
                    <a:pt x="2878" y="315"/>
                  </a:lnTo>
                  <a:lnTo>
                    <a:pt x="2885" y="323"/>
                  </a:lnTo>
                  <a:lnTo>
                    <a:pt x="2890" y="331"/>
                  </a:lnTo>
                  <a:lnTo>
                    <a:pt x="2896" y="339"/>
                  </a:lnTo>
                  <a:lnTo>
                    <a:pt x="2900" y="348"/>
                  </a:lnTo>
                  <a:lnTo>
                    <a:pt x="2905" y="358"/>
                  </a:lnTo>
                  <a:lnTo>
                    <a:pt x="2909" y="366"/>
                  </a:lnTo>
                  <a:lnTo>
                    <a:pt x="2914" y="376"/>
                  </a:lnTo>
                  <a:lnTo>
                    <a:pt x="2917" y="388"/>
                  </a:lnTo>
                  <a:lnTo>
                    <a:pt x="2919" y="399"/>
                  </a:lnTo>
                  <a:lnTo>
                    <a:pt x="2923" y="410"/>
                  </a:lnTo>
                  <a:lnTo>
                    <a:pt x="2925" y="422"/>
                  </a:lnTo>
                  <a:lnTo>
                    <a:pt x="2926" y="434"/>
                  </a:lnTo>
                  <a:lnTo>
                    <a:pt x="2927" y="448"/>
                  </a:lnTo>
                  <a:lnTo>
                    <a:pt x="2928" y="461"/>
                  </a:lnTo>
                  <a:lnTo>
                    <a:pt x="2928" y="475"/>
                  </a:lnTo>
                  <a:lnTo>
                    <a:pt x="2928" y="804"/>
                  </a:lnTo>
                  <a:lnTo>
                    <a:pt x="2755" y="804"/>
                  </a:lnTo>
                  <a:lnTo>
                    <a:pt x="2755" y="523"/>
                  </a:lnTo>
                  <a:lnTo>
                    <a:pt x="2754" y="509"/>
                  </a:lnTo>
                  <a:lnTo>
                    <a:pt x="2753" y="495"/>
                  </a:lnTo>
                  <a:lnTo>
                    <a:pt x="2752" y="483"/>
                  </a:lnTo>
                  <a:lnTo>
                    <a:pt x="2748" y="472"/>
                  </a:lnTo>
                  <a:lnTo>
                    <a:pt x="2745" y="462"/>
                  </a:lnTo>
                  <a:lnTo>
                    <a:pt x="2741" y="452"/>
                  </a:lnTo>
                  <a:lnTo>
                    <a:pt x="2738" y="448"/>
                  </a:lnTo>
                  <a:lnTo>
                    <a:pt x="2736" y="444"/>
                  </a:lnTo>
                  <a:lnTo>
                    <a:pt x="2733" y="440"/>
                  </a:lnTo>
                  <a:lnTo>
                    <a:pt x="2731" y="436"/>
                  </a:lnTo>
                  <a:lnTo>
                    <a:pt x="2724" y="430"/>
                  </a:lnTo>
                  <a:lnTo>
                    <a:pt x="2716" y="424"/>
                  </a:lnTo>
                  <a:lnTo>
                    <a:pt x="2708" y="420"/>
                  </a:lnTo>
                  <a:lnTo>
                    <a:pt x="2699" y="415"/>
                  </a:lnTo>
                  <a:lnTo>
                    <a:pt x="2691" y="412"/>
                  </a:lnTo>
                  <a:lnTo>
                    <a:pt x="2681" y="410"/>
                  </a:lnTo>
                  <a:lnTo>
                    <a:pt x="2669" y="409"/>
                  </a:lnTo>
                  <a:lnTo>
                    <a:pt x="2658" y="409"/>
                  </a:lnTo>
                  <a:lnTo>
                    <a:pt x="2647" y="409"/>
                  </a:lnTo>
                  <a:lnTo>
                    <a:pt x="2642" y="410"/>
                  </a:lnTo>
                  <a:lnTo>
                    <a:pt x="2637" y="410"/>
                  </a:lnTo>
                  <a:lnTo>
                    <a:pt x="2627" y="412"/>
                  </a:lnTo>
                  <a:lnTo>
                    <a:pt x="2617" y="415"/>
                  </a:lnTo>
                  <a:lnTo>
                    <a:pt x="2608" y="420"/>
                  </a:lnTo>
                  <a:lnTo>
                    <a:pt x="2604" y="422"/>
                  </a:lnTo>
                  <a:lnTo>
                    <a:pt x="2599" y="424"/>
                  </a:lnTo>
                  <a:lnTo>
                    <a:pt x="2592" y="431"/>
                  </a:lnTo>
                  <a:lnTo>
                    <a:pt x="2588" y="434"/>
                  </a:lnTo>
                  <a:lnTo>
                    <a:pt x="2585" y="438"/>
                  </a:lnTo>
                  <a:lnTo>
                    <a:pt x="2582" y="442"/>
                  </a:lnTo>
                  <a:lnTo>
                    <a:pt x="2578" y="445"/>
                  </a:lnTo>
                  <a:lnTo>
                    <a:pt x="2573" y="455"/>
                  </a:lnTo>
                  <a:lnTo>
                    <a:pt x="2567" y="465"/>
                  </a:lnTo>
                  <a:lnTo>
                    <a:pt x="2566" y="471"/>
                  </a:lnTo>
                  <a:lnTo>
                    <a:pt x="2564" y="478"/>
                  </a:lnTo>
                  <a:lnTo>
                    <a:pt x="2562" y="484"/>
                  </a:lnTo>
                  <a:lnTo>
                    <a:pt x="2561" y="491"/>
                  </a:lnTo>
                  <a:lnTo>
                    <a:pt x="2558" y="504"/>
                  </a:lnTo>
                  <a:lnTo>
                    <a:pt x="2556" y="520"/>
                  </a:lnTo>
                  <a:lnTo>
                    <a:pt x="2556" y="537"/>
                  </a:lnTo>
                  <a:lnTo>
                    <a:pt x="2556" y="804"/>
                  </a:lnTo>
                  <a:lnTo>
                    <a:pt x="2383" y="804"/>
                  </a:lnTo>
                  <a:lnTo>
                    <a:pt x="2383" y="0"/>
                  </a:lnTo>
                  <a:lnTo>
                    <a:pt x="2556" y="0"/>
                  </a:lnTo>
                  <a:lnTo>
                    <a:pt x="2556" y="343"/>
                  </a:lnTo>
                  <a:close/>
                  <a:moveTo>
                    <a:pt x="3506" y="541"/>
                  </a:moveTo>
                  <a:lnTo>
                    <a:pt x="3506" y="580"/>
                  </a:lnTo>
                  <a:lnTo>
                    <a:pt x="3125" y="580"/>
                  </a:lnTo>
                  <a:lnTo>
                    <a:pt x="3128" y="592"/>
                  </a:lnTo>
                  <a:lnTo>
                    <a:pt x="3131" y="603"/>
                  </a:lnTo>
                  <a:lnTo>
                    <a:pt x="3136" y="613"/>
                  </a:lnTo>
                  <a:lnTo>
                    <a:pt x="3141" y="623"/>
                  </a:lnTo>
                  <a:lnTo>
                    <a:pt x="3147" y="632"/>
                  </a:lnTo>
                  <a:lnTo>
                    <a:pt x="3155" y="640"/>
                  </a:lnTo>
                  <a:lnTo>
                    <a:pt x="3163" y="646"/>
                  </a:lnTo>
                  <a:lnTo>
                    <a:pt x="3170" y="653"/>
                  </a:lnTo>
                  <a:lnTo>
                    <a:pt x="3180" y="659"/>
                  </a:lnTo>
                  <a:lnTo>
                    <a:pt x="3189" y="663"/>
                  </a:lnTo>
                  <a:lnTo>
                    <a:pt x="3200" y="667"/>
                  </a:lnTo>
                  <a:lnTo>
                    <a:pt x="3211" y="671"/>
                  </a:lnTo>
                  <a:lnTo>
                    <a:pt x="3223" y="673"/>
                  </a:lnTo>
                  <a:lnTo>
                    <a:pt x="3229" y="674"/>
                  </a:lnTo>
                  <a:lnTo>
                    <a:pt x="3235" y="675"/>
                  </a:lnTo>
                  <a:lnTo>
                    <a:pt x="3248" y="676"/>
                  </a:lnTo>
                  <a:lnTo>
                    <a:pt x="3260" y="676"/>
                  </a:lnTo>
                  <a:lnTo>
                    <a:pt x="3273" y="676"/>
                  </a:lnTo>
                  <a:lnTo>
                    <a:pt x="3285" y="675"/>
                  </a:lnTo>
                  <a:lnTo>
                    <a:pt x="3296" y="674"/>
                  </a:lnTo>
                  <a:lnTo>
                    <a:pt x="3307" y="672"/>
                  </a:lnTo>
                  <a:lnTo>
                    <a:pt x="3318" y="670"/>
                  </a:lnTo>
                  <a:lnTo>
                    <a:pt x="3329" y="666"/>
                  </a:lnTo>
                  <a:lnTo>
                    <a:pt x="3349" y="661"/>
                  </a:lnTo>
                  <a:lnTo>
                    <a:pt x="3359" y="656"/>
                  </a:lnTo>
                  <a:lnTo>
                    <a:pt x="3368" y="653"/>
                  </a:lnTo>
                  <a:lnTo>
                    <a:pt x="3377" y="649"/>
                  </a:lnTo>
                  <a:lnTo>
                    <a:pt x="3386" y="645"/>
                  </a:lnTo>
                  <a:lnTo>
                    <a:pt x="3401" y="636"/>
                  </a:lnTo>
                  <a:lnTo>
                    <a:pt x="3415" y="627"/>
                  </a:lnTo>
                  <a:lnTo>
                    <a:pt x="3478" y="759"/>
                  </a:lnTo>
                  <a:lnTo>
                    <a:pt x="3467" y="765"/>
                  </a:lnTo>
                  <a:lnTo>
                    <a:pt x="3456" y="772"/>
                  </a:lnTo>
                  <a:lnTo>
                    <a:pt x="3445" y="777"/>
                  </a:lnTo>
                  <a:lnTo>
                    <a:pt x="3433" y="783"/>
                  </a:lnTo>
                  <a:lnTo>
                    <a:pt x="3408" y="794"/>
                  </a:lnTo>
                  <a:lnTo>
                    <a:pt x="3395" y="799"/>
                  </a:lnTo>
                  <a:lnTo>
                    <a:pt x="3381" y="803"/>
                  </a:lnTo>
                  <a:lnTo>
                    <a:pt x="3367" y="807"/>
                  </a:lnTo>
                  <a:lnTo>
                    <a:pt x="3353" y="811"/>
                  </a:lnTo>
                  <a:lnTo>
                    <a:pt x="3338" y="814"/>
                  </a:lnTo>
                  <a:lnTo>
                    <a:pt x="3324" y="816"/>
                  </a:lnTo>
                  <a:lnTo>
                    <a:pt x="3308" y="819"/>
                  </a:lnTo>
                  <a:lnTo>
                    <a:pt x="3291" y="820"/>
                  </a:lnTo>
                  <a:lnTo>
                    <a:pt x="3276" y="821"/>
                  </a:lnTo>
                  <a:lnTo>
                    <a:pt x="3258" y="821"/>
                  </a:lnTo>
                  <a:lnTo>
                    <a:pt x="3243" y="821"/>
                  </a:lnTo>
                  <a:lnTo>
                    <a:pt x="3226" y="820"/>
                  </a:lnTo>
                  <a:lnTo>
                    <a:pt x="3210" y="819"/>
                  </a:lnTo>
                  <a:lnTo>
                    <a:pt x="3195" y="816"/>
                  </a:lnTo>
                  <a:lnTo>
                    <a:pt x="3179" y="813"/>
                  </a:lnTo>
                  <a:lnTo>
                    <a:pt x="3165" y="810"/>
                  </a:lnTo>
                  <a:lnTo>
                    <a:pt x="3150" y="805"/>
                  </a:lnTo>
                  <a:lnTo>
                    <a:pt x="3137" y="801"/>
                  </a:lnTo>
                  <a:lnTo>
                    <a:pt x="3124" y="796"/>
                  </a:lnTo>
                  <a:lnTo>
                    <a:pt x="3110" y="790"/>
                  </a:lnTo>
                  <a:lnTo>
                    <a:pt x="3098" y="784"/>
                  </a:lnTo>
                  <a:lnTo>
                    <a:pt x="3087" y="777"/>
                  </a:lnTo>
                  <a:lnTo>
                    <a:pt x="3080" y="773"/>
                  </a:lnTo>
                  <a:lnTo>
                    <a:pt x="3075" y="770"/>
                  </a:lnTo>
                  <a:lnTo>
                    <a:pt x="3064" y="762"/>
                  </a:lnTo>
                  <a:lnTo>
                    <a:pt x="3054" y="753"/>
                  </a:lnTo>
                  <a:lnTo>
                    <a:pt x="3044" y="744"/>
                  </a:lnTo>
                  <a:lnTo>
                    <a:pt x="3034" y="735"/>
                  </a:lnTo>
                  <a:lnTo>
                    <a:pt x="3025" y="725"/>
                  </a:lnTo>
                  <a:lnTo>
                    <a:pt x="3017" y="714"/>
                  </a:lnTo>
                  <a:lnTo>
                    <a:pt x="3009" y="704"/>
                  </a:lnTo>
                  <a:lnTo>
                    <a:pt x="3002" y="692"/>
                  </a:lnTo>
                  <a:lnTo>
                    <a:pt x="2995" y="681"/>
                  </a:lnTo>
                  <a:lnTo>
                    <a:pt x="2989" y="669"/>
                  </a:lnTo>
                  <a:lnTo>
                    <a:pt x="2984" y="655"/>
                  </a:lnTo>
                  <a:lnTo>
                    <a:pt x="2978" y="643"/>
                  </a:lnTo>
                  <a:lnTo>
                    <a:pt x="2974" y="630"/>
                  </a:lnTo>
                  <a:lnTo>
                    <a:pt x="2970" y="615"/>
                  </a:lnTo>
                  <a:lnTo>
                    <a:pt x="2967" y="601"/>
                  </a:lnTo>
                  <a:lnTo>
                    <a:pt x="2965" y="586"/>
                  </a:lnTo>
                  <a:lnTo>
                    <a:pt x="2964" y="572"/>
                  </a:lnTo>
                  <a:lnTo>
                    <a:pt x="2963" y="556"/>
                  </a:lnTo>
                  <a:lnTo>
                    <a:pt x="2963" y="541"/>
                  </a:lnTo>
                  <a:lnTo>
                    <a:pt x="2963" y="524"/>
                  </a:lnTo>
                  <a:lnTo>
                    <a:pt x="2964" y="508"/>
                  </a:lnTo>
                  <a:lnTo>
                    <a:pt x="2965" y="492"/>
                  </a:lnTo>
                  <a:lnTo>
                    <a:pt x="2967" y="478"/>
                  </a:lnTo>
                  <a:lnTo>
                    <a:pt x="2970" y="462"/>
                  </a:lnTo>
                  <a:lnTo>
                    <a:pt x="2974" y="448"/>
                  </a:lnTo>
                  <a:lnTo>
                    <a:pt x="2978" y="434"/>
                  </a:lnTo>
                  <a:lnTo>
                    <a:pt x="2983" y="421"/>
                  </a:lnTo>
                  <a:lnTo>
                    <a:pt x="2988" y="408"/>
                  </a:lnTo>
                  <a:lnTo>
                    <a:pt x="2994" y="395"/>
                  </a:lnTo>
                  <a:lnTo>
                    <a:pt x="3000" y="383"/>
                  </a:lnTo>
                  <a:lnTo>
                    <a:pt x="3008" y="372"/>
                  </a:lnTo>
                  <a:lnTo>
                    <a:pt x="3015" y="361"/>
                  </a:lnTo>
                  <a:lnTo>
                    <a:pt x="3024" y="351"/>
                  </a:lnTo>
                  <a:lnTo>
                    <a:pt x="3032" y="341"/>
                  </a:lnTo>
                  <a:lnTo>
                    <a:pt x="3042" y="332"/>
                  </a:lnTo>
                  <a:lnTo>
                    <a:pt x="3050" y="323"/>
                  </a:lnTo>
                  <a:lnTo>
                    <a:pt x="3060" y="314"/>
                  </a:lnTo>
                  <a:lnTo>
                    <a:pt x="3072" y="306"/>
                  </a:lnTo>
                  <a:lnTo>
                    <a:pt x="3083" y="300"/>
                  </a:lnTo>
                  <a:lnTo>
                    <a:pt x="3094" y="293"/>
                  </a:lnTo>
                  <a:lnTo>
                    <a:pt x="3105" y="286"/>
                  </a:lnTo>
                  <a:lnTo>
                    <a:pt x="3117" y="281"/>
                  </a:lnTo>
                  <a:lnTo>
                    <a:pt x="3130" y="276"/>
                  </a:lnTo>
                  <a:lnTo>
                    <a:pt x="3143" y="272"/>
                  </a:lnTo>
                  <a:lnTo>
                    <a:pt x="3156" y="268"/>
                  </a:lnTo>
                  <a:lnTo>
                    <a:pt x="3169" y="264"/>
                  </a:lnTo>
                  <a:lnTo>
                    <a:pt x="3184" y="262"/>
                  </a:lnTo>
                  <a:lnTo>
                    <a:pt x="3198" y="260"/>
                  </a:lnTo>
                  <a:lnTo>
                    <a:pt x="3213" y="258"/>
                  </a:lnTo>
                  <a:lnTo>
                    <a:pt x="3227" y="258"/>
                  </a:lnTo>
                  <a:lnTo>
                    <a:pt x="3243" y="256"/>
                  </a:lnTo>
                  <a:lnTo>
                    <a:pt x="3257" y="258"/>
                  </a:lnTo>
                  <a:lnTo>
                    <a:pt x="3271" y="258"/>
                  </a:lnTo>
                  <a:lnTo>
                    <a:pt x="3286" y="260"/>
                  </a:lnTo>
                  <a:lnTo>
                    <a:pt x="3299" y="261"/>
                  </a:lnTo>
                  <a:lnTo>
                    <a:pt x="3313" y="263"/>
                  </a:lnTo>
                  <a:lnTo>
                    <a:pt x="3326" y="266"/>
                  </a:lnTo>
                  <a:lnTo>
                    <a:pt x="3339" y="270"/>
                  </a:lnTo>
                  <a:lnTo>
                    <a:pt x="3345" y="272"/>
                  </a:lnTo>
                  <a:lnTo>
                    <a:pt x="3351" y="274"/>
                  </a:lnTo>
                  <a:lnTo>
                    <a:pt x="3363" y="279"/>
                  </a:lnTo>
                  <a:lnTo>
                    <a:pt x="3375" y="284"/>
                  </a:lnTo>
                  <a:lnTo>
                    <a:pt x="3386" y="290"/>
                  </a:lnTo>
                  <a:lnTo>
                    <a:pt x="3396" y="296"/>
                  </a:lnTo>
                  <a:lnTo>
                    <a:pt x="3406" y="303"/>
                  </a:lnTo>
                  <a:lnTo>
                    <a:pt x="3411" y="306"/>
                  </a:lnTo>
                  <a:lnTo>
                    <a:pt x="3416" y="311"/>
                  </a:lnTo>
                  <a:lnTo>
                    <a:pt x="3425" y="319"/>
                  </a:lnTo>
                  <a:lnTo>
                    <a:pt x="3434" y="326"/>
                  </a:lnTo>
                  <a:lnTo>
                    <a:pt x="3443" y="336"/>
                  </a:lnTo>
                  <a:lnTo>
                    <a:pt x="3450" y="345"/>
                  </a:lnTo>
                  <a:lnTo>
                    <a:pt x="3458" y="355"/>
                  </a:lnTo>
                  <a:lnTo>
                    <a:pt x="3465" y="366"/>
                  </a:lnTo>
                  <a:lnTo>
                    <a:pt x="3471" y="378"/>
                  </a:lnTo>
                  <a:lnTo>
                    <a:pt x="3477" y="390"/>
                  </a:lnTo>
                  <a:lnTo>
                    <a:pt x="3483" y="402"/>
                  </a:lnTo>
                  <a:lnTo>
                    <a:pt x="3487" y="415"/>
                  </a:lnTo>
                  <a:lnTo>
                    <a:pt x="3489" y="422"/>
                  </a:lnTo>
                  <a:lnTo>
                    <a:pt x="3491" y="429"/>
                  </a:lnTo>
                  <a:lnTo>
                    <a:pt x="3495" y="443"/>
                  </a:lnTo>
                  <a:lnTo>
                    <a:pt x="3498" y="458"/>
                  </a:lnTo>
                  <a:lnTo>
                    <a:pt x="3501" y="473"/>
                  </a:lnTo>
                  <a:lnTo>
                    <a:pt x="3502" y="490"/>
                  </a:lnTo>
                  <a:lnTo>
                    <a:pt x="3505" y="506"/>
                  </a:lnTo>
                  <a:lnTo>
                    <a:pt x="3506" y="523"/>
                  </a:lnTo>
                  <a:lnTo>
                    <a:pt x="3506" y="541"/>
                  </a:lnTo>
                  <a:close/>
                  <a:moveTo>
                    <a:pt x="3126" y="478"/>
                  </a:moveTo>
                  <a:lnTo>
                    <a:pt x="3338" y="478"/>
                  </a:lnTo>
                  <a:lnTo>
                    <a:pt x="3337" y="466"/>
                  </a:lnTo>
                  <a:lnTo>
                    <a:pt x="3335" y="455"/>
                  </a:lnTo>
                  <a:lnTo>
                    <a:pt x="3333" y="445"/>
                  </a:lnTo>
                  <a:lnTo>
                    <a:pt x="3329" y="436"/>
                  </a:lnTo>
                  <a:lnTo>
                    <a:pt x="3325" y="428"/>
                  </a:lnTo>
                  <a:lnTo>
                    <a:pt x="3319" y="420"/>
                  </a:lnTo>
                  <a:lnTo>
                    <a:pt x="3317" y="415"/>
                  </a:lnTo>
                  <a:lnTo>
                    <a:pt x="3314" y="412"/>
                  </a:lnTo>
                  <a:lnTo>
                    <a:pt x="3308" y="405"/>
                  </a:lnTo>
                  <a:lnTo>
                    <a:pt x="3300" y="400"/>
                  </a:lnTo>
                  <a:lnTo>
                    <a:pt x="3293" y="394"/>
                  </a:lnTo>
                  <a:lnTo>
                    <a:pt x="3285" y="390"/>
                  </a:lnTo>
                  <a:lnTo>
                    <a:pt x="3276" y="386"/>
                  </a:lnTo>
                  <a:lnTo>
                    <a:pt x="3267" y="383"/>
                  </a:lnTo>
                  <a:lnTo>
                    <a:pt x="3257" y="382"/>
                  </a:lnTo>
                  <a:lnTo>
                    <a:pt x="3247" y="380"/>
                  </a:lnTo>
                  <a:lnTo>
                    <a:pt x="3237" y="380"/>
                  </a:lnTo>
                  <a:lnTo>
                    <a:pt x="3226" y="380"/>
                  </a:lnTo>
                  <a:lnTo>
                    <a:pt x="3216" y="381"/>
                  </a:lnTo>
                  <a:lnTo>
                    <a:pt x="3206" y="383"/>
                  </a:lnTo>
                  <a:lnTo>
                    <a:pt x="3196" y="385"/>
                  </a:lnTo>
                  <a:lnTo>
                    <a:pt x="3187" y="389"/>
                  </a:lnTo>
                  <a:lnTo>
                    <a:pt x="3178" y="393"/>
                  </a:lnTo>
                  <a:lnTo>
                    <a:pt x="3170" y="398"/>
                  </a:lnTo>
                  <a:lnTo>
                    <a:pt x="3163" y="403"/>
                  </a:lnTo>
                  <a:lnTo>
                    <a:pt x="3156" y="409"/>
                  </a:lnTo>
                  <a:lnTo>
                    <a:pt x="3149" y="416"/>
                  </a:lnTo>
                  <a:lnTo>
                    <a:pt x="3144" y="424"/>
                  </a:lnTo>
                  <a:lnTo>
                    <a:pt x="3139" y="433"/>
                  </a:lnTo>
                  <a:lnTo>
                    <a:pt x="3137" y="438"/>
                  </a:lnTo>
                  <a:lnTo>
                    <a:pt x="3135" y="443"/>
                  </a:lnTo>
                  <a:lnTo>
                    <a:pt x="3131" y="453"/>
                  </a:lnTo>
                  <a:lnTo>
                    <a:pt x="3128" y="465"/>
                  </a:lnTo>
                  <a:lnTo>
                    <a:pt x="3126" y="4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2553883"/>
      </p:ext>
    </p:extLst>
  </p:cSld>
  <p:clrMapOvr>
    <a:masterClrMapping/>
  </p:clrMapOvr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" preserve="1" userDrawn="1">
  <p:cSld name="Title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8669060" y="6501387"/>
            <a:ext cx="1408596" cy="602019"/>
            <a:chOff x="10200456" y="6170033"/>
            <a:chExt cx="1657426" cy="571336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10200456" y="6170033"/>
              <a:ext cx="1657426" cy="571336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0361613" cy="72263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6"/>
                </a:move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846199" y="6211926"/>
                </a:lnTo>
                <a:lnTo>
                  <a:pt x="10754785" y="6211926"/>
                </a:lnTo>
                <a:lnTo>
                  <a:pt x="10663510" y="6211926"/>
                </a:lnTo>
                <a:lnTo>
                  <a:pt x="10572095" y="6211926"/>
                </a:lnTo>
                <a:lnTo>
                  <a:pt x="10480540" y="6211926"/>
                </a:lnTo>
                <a:lnTo>
                  <a:pt x="10389125" y="62119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marR="0" indent="0" algn="r" defTabSz="777149" rtl="0" eaLnBrk="1" fontAlgn="auto" latinLnBrk="0" hangingPunct="1">
              <a:lnSpc>
                <a:spcPct val="100000"/>
              </a:lnSpc>
              <a:spcBef>
                <a:spcPts val="68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02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029433"/>
            <a:ext cx="7833271" cy="1365600"/>
          </a:xfrm>
        </p:spPr>
        <p:txBody>
          <a:bodyPr anchor="t" anchorCtr="0"/>
          <a:lstStyle>
            <a:lvl1pPr algn="l">
              <a:defRPr sz="425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479400"/>
            <a:ext cx="7833271" cy="379333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211"/>
            <a:ext cx="1104491" cy="99385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7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45663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ega Picture" preserve="1" userDrawn="1">
  <p:cSld name="Title Slide Nega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/>
          <p:cNvGrpSpPr/>
          <p:nvPr userDrawn="1"/>
        </p:nvGrpSpPr>
        <p:grpSpPr>
          <a:xfrm>
            <a:off x="8669060" y="6501387"/>
            <a:ext cx="1408596" cy="602019"/>
            <a:chOff x="10200456" y="6170033"/>
            <a:chExt cx="1657426" cy="571336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10200456" y="6170033"/>
              <a:ext cx="1657426" cy="571336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  <p:sp>
        <p:nvSpPr>
          <p:cNvPr id="17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0361613" cy="72263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6"/>
                </a:move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846199" y="6211926"/>
                </a:lnTo>
                <a:lnTo>
                  <a:pt x="10754785" y="6211926"/>
                </a:lnTo>
                <a:lnTo>
                  <a:pt x="10663510" y="6211926"/>
                </a:lnTo>
                <a:lnTo>
                  <a:pt x="10572095" y="6211926"/>
                </a:lnTo>
                <a:lnTo>
                  <a:pt x="10480540" y="6211926"/>
                </a:lnTo>
                <a:lnTo>
                  <a:pt x="10389125" y="62119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marR="0" indent="0" algn="r" defTabSz="777149" rtl="0" eaLnBrk="1" fontAlgn="auto" latinLnBrk="0" hangingPunct="1">
              <a:lnSpc>
                <a:spcPct val="100000"/>
              </a:lnSpc>
              <a:spcBef>
                <a:spcPts val="68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02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029433"/>
            <a:ext cx="7833271" cy="1365600"/>
          </a:xfrm>
        </p:spPr>
        <p:txBody>
          <a:bodyPr anchor="t" anchorCtr="0"/>
          <a:lstStyle>
            <a:lvl1pPr algn="l">
              <a:defRPr sz="425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479400"/>
            <a:ext cx="7833271" cy="379333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211"/>
            <a:ext cx="1104491" cy="993853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7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9041804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896483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with Subheading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2" y="1564030"/>
            <a:ext cx="9425289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2" y="2171524"/>
            <a:ext cx="9425289" cy="42485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5116805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s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03201" y="1564026"/>
            <a:ext cx="4590251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180807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907416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8081" y="289387"/>
            <a:ext cx="9325452" cy="120438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8081" y="1617554"/>
            <a:ext cx="4578040" cy="674120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9649" indent="0">
              <a:buNone/>
              <a:defRPr sz="2100" b="1"/>
            </a:lvl2pPr>
            <a:lvl3pPr marL="959297" indent="0">
              <a:buNone/>
              <a:defRPr sz="1900" b="1"/>
            </a:lvl3pPr>
            <a:lvl4pPr marL="1438946" indent="0">
              <a:buNone/>
              <a:defRPr sz="1700" b="1"/>
            </a:lvl4pPr>
            <a:lvl5pPr marL="1918594" indent="0">
              <a:buNone/>
              <a:defRPr sz="1700" b="1"/>
            </a:lvl5pPr>
            <a:lvl6pPr marL="2398243" indent="0">
              <a:buNone/>
              <a:defRPr sz="1700" b="1"/>
            </a:lvl6pPr>
            <a:lvl7pPr marL="2877891" indent="0">
              <a:buNone/>
              <a:defRPr sz="1700" b="1"/>
            </a:lvl7pPr>
            <a:lvl8pPr marL="3357540" indent="0">
              <a:buNone/>
              <a:defRPr sz="1700" b="1"/>
            </a:lvl8pPr>
            <a:lvl9pPr marL="3837188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8081" y="2291674"/>
            <a:ext cx="4578040" cy="4163487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263833" y="1617554"/>
            <a:ext cx="4579700" cy="674120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9649" indent="0">
              <a:buNone/>
              <a:defRPr sz="2100" b="1"/>
            </a:lvl2pPr>
            <a:lvl3pPr marL="959297" indent="0">
              <a:buNone/>
              <a:defRPr sz="1900" b="1"/>
            </a:lvl3pPr>
            <a:lvl4pPr marL="1438946" indent="0">
              <a:buNone/>
              <a:defRPr sz="1700" b="1"/>
            </a:lvl4pPr>
            <a:lvl5pPr marL="1918594" indent="0">
              <a:buNone/>
              <a:defRPr sz="1700" b="1"/>
            </a:lvl5pPr>
            <a:lvl6pPr marL="2398243" indent="0">
              <a:buNone/>
              <a:defRPr sz="1700" b="1"/>
            </a:lvl6pPr>
            <a:lvl7pPr marL="2877891" indent="0">
              <a:buNone/>
              <a:defRPr sz="1700" b="1"/>
            </a:lvl7pPr>
            <a:lvl8pPr marL="3357540" indent="0">
              <a:buNone/>
              <a:defRPr sz="1700" b="1"/>
            </a:lvl8pPr>
            <a:lvl9pPr marL="3837188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63833" y="2291674"/>
            <a:ext cx="4579700" cy="4163487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A73EC-32B8-41C1-BC16-203E11C082C3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2" y="1564030"/>
            <a:ext cx="4590251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2" y="2171524"/>
            <a:ext cx="4590251" cy="42485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03201" y="1564030"/>
            <a:ext cx="4590251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303201" y="2171527"/>
            <a:ext cx="4590251" cy="42485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180807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9094771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3" y="1564030"/>
            <a:ext cx="2999117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3" y="2171239"/>
            <a:ext cx="2999117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712028" y="2171484"/>
            <a:ext cx="2937150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6894382" y="1564466"/>
            <a:ext cx="2998757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712028" y="1564466"/>
            <a:ext cx="2937558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6894382" y="2171484"/>
            <a:ext cx="2998341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589673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6771940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365990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2" preserve="1" userDrawn="1">
  <p:cSld name="Title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303203" y="5"/>
            <a:ext cx="5058412" cy="6420032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8165" y="501826"/>
            <a:ext cx="4590250" cy="7591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8738575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mall Picture" preserve="1" userDrawn="1">
  <p:cSld name="Title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303201" y="1564027"/>
            <a:ext cx="4590251" cy="4856006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4728112"/>
      </p:ext>
    </p:extLst>
  </p:cSld>
  <p:clrMapOvr>
    <a:masterClrMapping/>
  </p:clrMapOvr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1" preserve="1" userDrawn="1">
  <p:cSld name="Title and 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8163" y="1564027"/>
            <a:ext cx="9425289" cy="4856006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0719141"/>
      </p:ext>
    </p:extLst>
  </p:cSld>
  <p:clrMapOvr>
    <a:masterClrMapping/>
  </p:clrMapOvr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2424875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855042"/>
      </p:ext>
    </p:extLst>
  </p:cSld>
  <p:clrMapOvr>
    <a:masterClrMapping/>
  </p:clrMapOvr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ogan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8163" y="2702654"/>
            <a:ext cx="9425288" cy="1745415"/>
          </a:xfrm>
        </p:spPr>
        <p:txBody>
          <a:bodyPr anchor="ctr" anchorCtr="0"/>
          <a:lstStyle>
            <a:lvl1pPr algn="ctr">
              <a:defRPr sz="42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528616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937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475024"/>
            <a:ext cx="7833271" cy="2276253"/>
          </a:xfrm>
        </p:spPr>
        <p:txBody>
          <a:bodyPr anchor="t" anchorCtr="0"/>
          <a:lstStyle>
            <a:lvl1pPr algn="l">
              <a:defRPr sz="425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564026"/>
            <a:ext cx="7833271" cy="759744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8648541" y="6096570"/>
            <a:ext cx="1346343" cy="962691"/>
            <a:chOff x="10176312" y="5785848"/>
            <a:chExt cx="1584176" cy="913626"/>
          </a:xfrm>
        </p:grpSpPr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0297850" y="6211927"/>
              <a:ext cx="1462638" cy="487547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0176312" y="5785848"/>
              <a:ext cx="730621" cy="426079"/>
            </a:xfrm>
            <a:custGeom>
              <a:avLst/>
              <a:gdLst>
                <a:gd name="T0" fmla="*/ 0 w 5232"/>
                <a:gd name="T1" fmla="*/ 3051 h 3051"/>
                <a:gd name="T2" fmla="*/ 653 w 5232"/>
                <a:gd name="T3" fmla="*/ 3051 h 3051"/>
                <a:gd name="T4" fmla="*/ 1307 w 5232"/>
                <a:gd name="T5" fmla="*/ 3051 h 3051"/>
                <a:gd name="T6" fmla="*/ 1962 w 5232"/>
                <a:gd name="T7" fmla="*/ 3051 h 3051"/>
                <a:gd name="T8" fmla="*/ 2616 w 5232"/>
                <a:gd name="T9" fmla="*/ 3051 h 3051"/>
                <a:gd name="T10" fmla="*/ 3269 w 5232"/>
                <a:gd name="T11" fmla="*/ 3051 h 3051"/>
                <a:gd name="T12" fmla="*/ 3923 w 5232"/>
                <a:gd name="T13" fmla="*/ 3051 h 3051"/>
                <a:gd name="T14" fmla="*/ 4578 w 5232"/>
                <a:gd name="T15" fmla="*/ 3051 h 3051"/>
                <a:gd name="T16" fmla="*/ 5232 w 5232"/>
                <a:gd name="T17" fmla="*/ 3051 h 3051"/>
                <a:gd name="T18" fmla="*/ 5232 w 5232"/>
                <a:gd name="T19" fmla="*/ 2288 h 3051"/>
                <a:gd name="T20" fmla="*/ 5232 w 5232"/>
                <a:gd name="T21" fmla="*/ 1525 h 3051"/>
                <a:gd name="T22" fmla="*/ 5232 w 5232"/>
                <a:gd name="T23" fmla="*/ 762 h 3051"/>
                <a:gd name="T24" fmla="*/ 5232 w 5232"/>
                <a:gd name="T25" fmla="*/ 0 h 3051"/>
                <a:gd name="T26" fmla="*/ 4578 w 5232"/>
                <a:gd name="T27" fmla="*/ 0 h 3051"/>
                <a:gd name="T28" fmla="*/ 3923 w 5232"/>
                <a:gd name="T29" fmla="*/ 0 h 3051"/>
                <a:gd name="T30" fmla="*/ 3269 w 5232"/>
                <a:gd name="T31" fmla="*/ 0 h 3051"/>
                <a:gd name="T32" fmla="*/ 2616 w 5232"/>
                <a:gd name="T33" fmla="*/ 0 h 3051"/>
                <a:gd name="T34" fmla="*/ 1962 w 5232"/>
                <a:gd name="T35" fmla="*/ 0 h 3051"/>
                <a:gd name="T36" fmla="*/ 1307 w 5232"/>
                <a:gd name="T37" fmla="*/ 0 h 3051"/>
                <a:gd name="T38" fmla="*/ 653 w 5232"/>
                <a:gd name="T39" fmla="*/ 0 h 3051"/>
                <a:gd name="T40" fmla="*/ 0 w 5232"/>
                <a:gd name="T41" fmla="*/ 0 h 3051"/>
                <a:gd name="T42" fmla="*/ 0 w 5232"/>
                <a:gd name="T43" fmla="*/ 762 h 3051"/>
                <a:gd name="T44" fmla="*/ 0 w 5232"/>
                <a:gd name="T45" fmla="*/ 1525 h 3051"/>
                <a:gd name="T46" fmla="*/ 0 w 5232"/>
                <a:gd name="T47" fmla="*/ 2288 h 3051"/>
                <a:gd name="T48" fmla="*/ 0 w 5232"/>
                <a:gd name="T49" fmla="*/ 3051 h 3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32" h="3051">
                  <a:moveTo>
                    <a:pt x="0" y="3051"/>
                  </a:moveTo>
                  <a:lnTo>
                    <a:pt x="653" y="3051"/>
                  </a:lnTo>
                  <a:lnTo>
                    <a:pt x="1307" y="3051"/>
                  </a:lnTo>
                  <a:lnTo>
                    <a:pt x="1962" y="3051"/>
                  </a:lnTo>
                  <a:lnTo>
                    <a:pt x="2616" y="3051"/>
                  </a:lnTo>
                  <a:lnTo>
                    <a:pt x="3269" y="3051"/>
                  </a:lnTo>
                  <a:lnTo>
                    <a:pt x="3923" y="3051"/>
                  </a:lnTo>
                  <a:lnTo>
                    <a:pt x="4578" y="3051"/>
                  </a:lnTo>
                  <a:lnTo>
                    <a:pt x="5232" y="3051"/>
                  </a:lnTo>
                  <a:lnTo>
                    <a:pt x="5232" y="2288"/>
                  </a:lnTo>
                  <a:lnTo>
                    <a:pt x="5232" y="1525"/>
                  </a:lnTo>
                  <a:lnTo>
                    <a:pt x="5232" y="762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762"/>
                  </a:lnTo>
                  <a:lnTo>
                    <a:pt x="0" y="1525"/>
                  </a:lnTo>
                  <a:lnTo>
                    <a:pt x="0" y="2288"/>
                  </a:lnTo>
                  <a:lnTo>
                    <a:pt x="0" y="3051"/>
                  </a:lnTo>
                  <a:close/>
                </a:path>
              </a:pathLst>
            </a:custGeom>
            <a:solidFill>
              <a:srgbClr val="377A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10293658" y="5873858"/>
              <a:ext cx="491737" cy="272412"/>
            </a:xfrm>
            <a:custGeom>
              <a:avLst/>
              <a:gdLst>
                <a:gd name="T0" fmla="*/ 278 w 3517"/>
                <a:gd name="T1" fmla="*/ 1564 h 1954"/>
                <a:gd name="T2" fmla="*/ 190 w 3517"/>
                <a:gd name="T3" fmla="*/ 1377 h 1954"/>
                <a:gd name="T4" fmla="*/ 466 w 3517"/>
                <a:gd name="T5" fmla="*/ 1198 h 1954"/>
                <a:gd name="T6" fmla="*/ 105 w 3517"/>
                <a:gd name="T7" fmla="*/ 1218 h 1954"/>
                <a:gd name="T8" fmla="*/ 22 w 3517"/>
                <a:gd name="T9" fmla="*/ 1558 h 1954"/>
                <a:gd name="T10" fmla="*/ 508 w 3517"/>
                <a:gd name="T11" fmla="*/ 903 h 1954"/>
                <a:gd name="T12" fmla="*/ 824 w 3517"/>
                <a:gd name="T13" fmla="*/ 1318 h 1954"/>
                <a:gd name="T14" fmla="*/ 1034 w 3517"/>
                <a:gd name="T15" fmla="*/ 1269 h 1954"/>
                <a:gd name="T16" fmla="*/ 800 w 3517"/>
                <a:gd name="T17" fmla="*/ 1165 h 1954"/>
                <a:gd name="T18" fmla="*/ 1476 w 3517"/>
                <a:gd name="T19" fmla="*/ 1679 h 1954"/>
                <a:gd name="T20" fmla="*/ 1372 w 3517"/>
                <a:gd name="T21" fmla="*/ 1161 h 1954"/>
                <a:gd name="T22" fmla="*/ 1104 w 3517"/>
                <a:gd name="T23" fmla="*/ 1333 h 1954"/>
                <a:gd name="T24" fmla="*/ 1201 w 3517"/>
                <a:gd name="T25" fmla="*/ 1684 h 1954"/>
                <a:gd name="T26" fmla="*/ 1288 w 3517"/>
                <a:gd name="T27" fmla="*/ 1514 h 1954"/>
                <a:gd name="T28" fmla="*/ 1370 w 3517"/>
                <a:gd name="T29" fmla="*/ 1318 h 1954"/>
                <a:gd name="T30" fmla="*/ 1506 w 3517"/>
                <a:gd name="T31" fmla="*/ 1482 h 1954"/>
                <a:gd name="T32" fmla="*/ 1977 w 3517"/>
                <a:gd name="T33" fmla="*/ 1198 h 1954"/>
                <a:gd name="T34" fmla="*/ 1980 w 3517"/>
                <a:gd name="T35" fmla="*/ 1323 h 1954"/>
                <a:gd name="T36" fmla="*/ 2300 w 3517"/>
                <a:gd name="T37" fmla="*/ 1364 h 1954"/>
                <a:gd name="T38" fmla="*/ 2142 w 3517"/>
                <a:gd name="T39" fmla="*/ 1162 h 1954"/>
                <a:gd name="T40" fmla="*/ 2902 w 3517"/>
                <a:gd name="T41" fmla="*/ 1848 h 1954"/>
                <a:gd name="T42" fmla="*/ 2659 w 3517"/>
                <a:gd name="T43" fmla="*/ 1168 h 1954"/>
                <a:gd name="T44" fmla="*/ 2361 w 3517"/>
                <a:gd name="T45" fmla="*/ 1305 h 1954"/>
                <a:gd name="T46" fmla="*/ 2418 w 3517"/>
                <a:gd name="T47" fmla="*/ 1656 h 1954"/>
                <a:gd name="T48" fmla="*/ 2734 w 3517"/>
                <a:gd name="T49" fmla="*/ 1666 h 1954"/>
                <a:gd name="T50" fmla="*/ 2605 w 3517"/>
                <a:gd name="T51" fmla="*/ 1790 h 1954"/>
                <a:gd name="T52" fmla="*/ 2549 w 3517"/>
                <a:gd name="T53" fmla="*/ 1532 h 1954"/>
                <a:gd name="T54" fmla="*/ 2599 w 3517"/>
                <a:gd name="T55" fmla="*/ 1323 h 1954"/>
                <a:gd name="T56" fmla="*/ 2756 w 3517"/>
                <a:gd name="T57" fmla="*/ 1468 h 1954"/>
                <a:gd name="T58" fmla="*/ 3141 w 3517"/>
                <a:gd name="T59" fmla="*/ 1179 h 1954"/>
                <a:gd name="T60" fmla="*/ 2975 w 3517"/>
                <a:gd name="T61" fmla="*/ 1475 h 1954"/>
                <a:gd name="T62" fmla="*/ 3206 w 3517"/>
                <a:gd name="T63" fmla="*/ 1719 h 1954"/>
                <a:gd name="T64" fmla="*/ 3308 w 3517"/>
                <a:gd name="T65" fmla="*/ 1577 h 1954"/>
                <a:gd name="T66" fmla="*/ 3512 w 3517"/>
                <a:gd name="T67" fmla="*/ 1376 h 1954"/>
                <a:gd name="T68" fmla="*/ 3284 w 3517"/>
                <a:gd name="T69" fmla="*/ 1161 h 1954"/>
                <a:gd name="T70" fmla="*/ 3150 w 3517"/>
                <a:gd name="T71" fmla="*/ 1336 h 1954"/>
                <a:gd name="T72" fmla="*/ 253 w 3517"/>
                <a:gd name="T73" fmla="*/ 744 h 1954"/>
                <a:gd name="T74" fmla="*/ 99 w 3517"/>
                <a:gd name="T75" fmla="*/ 630 h 1954"/>
                <a:gd name="T76" fmla="*/ 854 w 3517"/>
                <a:gd name="T77" fmla="*/ 734 h 1954"/>
                <a:gd name="T78" fmla="*/ 486 w 3517"/>
                <a:gd name="T79" fmla="*/ 790 h 1954"/>
                <a:gd name="T80" fmla="*/ 341 w 3517"/>
                <a:gd name="T81" fmla="*/ 463 h 1954"/>
                <a:gd name="T82" fmla="*/ 630 w 3517"/>
                <a:gd name="T83" fmla="*/ 255 h 1954"/>
                <a:gd name="T84" fmla="*/ 920 w 3517"/>
                <a:gd name="T85" fmla="*/ 463 h 1954"/>
                <a:gd name="T86" fmla="*/ 643 w 3517"/>
                <a:gd name="T87" fmla="*/ 662 h 1954"/>
                <a:gd name="T88" fmla="*/ 733 w 3517"/>
                <a:gd name="T89" fmla="*/ 465 h 1954"/>
                <a:gd name="T90" fmla="*/ 516 w 3517"/>
                <a:gd name="T91" fmla="*/ 488 h 1954"/>
                <a:gd name="T92" fmla="*/ 1555 w 3517"/>
                <a:gd name="T93" fmla="*/ 440 h 1954"/>
                <a:gd name="T94" fmla="*/ 1383 w 3517"/>
                <a:gd name="T95" fmla="*/ 484 h 1954"/>
                <a:gd name="T96" fmla="*/ 1550 w 3517"/>
                <a:gd name="T97" fmla="*/ 255 h 1954"/>
                <a:gd name="T98" fmla="*/ 1745 w 3517"/>
                <a:gd name="T99" fmla="*/ 422 h 1954"/>
                <a:gd name="T100" fmla="*/ 2184 w 3517"/>
                <a:gd name="T101" fmla="*/ 799 h 1954"/>
                <a:gd name="T102" fmla="*/ 2062 w 3517"/>
                <a:gd name="T103" fmla="*/ 60 h 1954"/>
                <a:gd name="T104" fmla="*/ 2760 w 3517"/>
                <a:gd name="T105" fmla="*/ 258 h 1954"/>
                <a:gd name="T106" fmla="*/ 2927 w 3517"/>
                <a:gd name="T107" fmla="*/ 448 h 1954"/>
                <a:gd name="T108" fmla="*/ 2627 w 3517"/>
                <a:gd name="T109" fmla="*/ 412 h 1954"/>
                <a:gd name="T110" fmla="*/ 3128 w 3517"/>
                <a:gd name="T111" fmla="*/ 592 h 1954"/>
                <a:gd name="T112" fmla="*/ 3386 w 3517"/>
                <a:gd name="T113" fmla="*/ 645 h 1954"/>
                <a:gd name="T114" fmla="*/ 3124 w 3517"/>
                <a:gd name="T115" fmla="*/ 796 h 1954"/>
                <a:gd name="T116" fmla="*/ 2965 w 3517"/>
                <a:gd name="T117" fmla="*/ 492 h 1954"/>
                <a:gd name="T118" fmla="*/ 3213 w 3517"/>
                <a:gd name="T119" fmla="*/ 258 h 1954"/>
                <a:gd name="T120" fmla="*/ 3483 w 3517"/>
                <a:gd name="T121" fmla="*/ 402 h 1954"/>
                <a:gd name="T122" fmla="*/ 3257 w 3517"/>
                <a:gd name="T123" fmla="*/ 38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17" h="1954">
                  <a:moveTo>
                    <a:pt x="296" y="1724"/>
                  </a:moveTo>
                  <a:lnTo>
                    <a:pt x="309" y="1724"/>
                  </a:lnTo>
                  <a:lnTo>
                    <a:pt x="322" y="1724"/>
                  </a:lnTo>
                  <a:lnTo>
                    <a:pt x="336" y="1723"/>
                  </a:lnTo>
                  <a:lnTo>
                    <a:pt x="349" y="1720"/>
                  </a:lnTo>
                  <a:lnTo>
                    <a:pt x="361" y="1719"/>
                  </a:lnTo>
                  <a:lnTo>
                    <a:pt x="373" y="1717"/>
                  </a:lnTo>
                  <a:lnTo>
                    <a:pt x="398" y="1710"/>
                  </a:lnTo>
                  <a:lnTo>
                    <a:pt x="421" y="1704"/>
                  </a:lnTo>
                  <a:lnTo>
                    <a:pt x="432" y="1699"/>
                  </a:lnTo>
                  <a:lnTo>
                    <a:pt x="443" y="1695"/>
                  </a:lnTo>
                  <a:lnTo>
                    <a:pt x="466" y="1684"/>
                  </a:lnTo>
                  <a:lnTo>
                    <a:pt x="487" y="1673"/>
                  </a:lnTo>
                  <a:lnTo>
                    <a:pt x="416" y="1534"/>
                  </a:lnTo>
                  <a:lnTo>
                    <a:pt x="403" y="1540"/>
                  </a:lnTo>
                  <a:lnTo>
                    <a:pt x="391" y="1547"/>
                  </a:lnTo>
                  <a:lnTo>
                    <a:pt x="379" y="1553"/>
                  </a:lnTo>
                  <a:lnTo>
                    <a:pt x="372" y="1555"/>
                  </a:lnTo>
                  <a:lnTo>
                    <a:pt x="366" y="1557"/>
                  </a:lnTo>
                  <a:lnTo>
                    <a:pt x="351" y="1560"/>
                  </a:lnTo>
                  <a:lnTo>
                    <a:pt x="343" y="1563"/>
                  </a:lnTo>
                  <a:lnTo>
                    <a:pt x="336" y="1564"/>
                  </a:lnTo>
                  <a:lnTo>
                    <a:pt x="328" y="1565"/>
                  </a:lnTo>
                  <a:lnTo>
                    <a:pt x="320" y="1565"/>
                  </a:lnTo>
                  <a:lnTo>
                    <a:pt x="303" y="1566"/>
                  </a:lnTo>
                  <a:lnTo>
                    <a:pt x="290" y="1565"/>
                  </a:lnTo>
                  <a:lnTo>
                    <a:pt x="278" y="1564"/>
                  </a:lnTo>
                  <a:lnTo>
                    <a:pt x="266" y="1560"/>
                  </a:lnTo>
                  <a:lnTo>
                    <a:pt x="253" y="1557"/>
                  </a:lnTo>
                  <a:lnTo>
                    <a:pt x="242" y="1553"/>
                  </a:lnTo>
                  <a:lnTo>
                    <a:pt x="232" y="1547"/>
                  </a:lnTo>
                  <a:lnTo>
                    <a:pt x="222" y="1540"/>
                  </a:lnTo>
                  <a:lnTo>
                    <a:pt x="217" y="1537"/>
                  </a:lnTo>
                  <a:lnTo>
                    <a:pt x="212" y="1534"/>
                  </a:lnTo>
                  <a:lnTo>
                    <a:pt x="203" y="1525"/>
                  </a:lnTo>
                  <a:lnTo>
                    <a:pt x="197" y="1516"/>
                  </a:lnTo>
                  <a:lnTo>
                    <a:pt x="192" y="1510"/>
                  </a:lnTo>
                  <a:lnTo>
                    <a:pt x="190" y="1505"/>
                  </a:lnTo>
                  <a:lnTo>
                    <a:pt x="183" y="1495"/>
                  </a:lnTo>
                  <a:lnTo>
                    <a:pt x="181" y="1488"/>
                  </a:lnTo>
                  <a:lnTo>
                    <a:pt x="179" y="1483"/>
                  </a:lnTo>
                  <a:lnTo>
                    <a:pt x="178" y="1476"/>
                  </a:lnTo>
                  <a:lnTo>
                    <a:pt x="176" y="1469"/>
                  </a:lnTo>
                  <a:lnTo>
                    <a:pt x="175" y="1463"/>
                  </a:lnTo>
                  <a:lnTo>
                    <a:pt x="175" y="1456"/>
                  </a:lnTo>
                  <a:lnTo>
                    <a:pt x="173" y="1449"/>
                  </a:lnTo>
                  <a:lnTo>
                    <a:pt x="173" y="1442"/>
                  </a:lnTo>
                  <a:lnTo>
                    <a:pt x="173" y="1434"/>
                  </a:lnTo>
                  <a:lnTo>
                    <a:pt x="175" y="1427"/>
                  </a:lnTo>
                  <a:lnTo>
                    <a:pt x="176" y="1414"/>
                  </a:lnTo>
                  <a:lnTo>
                    <a:pt x="178" y="1407"/>
                  </a:lnTo>
                  <a:lnTo>
                    <a:pt x="179" y="1401"/>
                  </a:lnTo>
                  <a:lnTo>
                    <a:pt x="183" y="1388"/>
                  </a:lnTo>
                  <a:lnTo>
                    <a:pt x="190" y="1377"/>
                  </a:lnTo>
                  <a:lnTo>
                    <a:pt x="192" y="1373"/>
                  </a:lnTo>
                  <a:lnTo>
                    <a:pt x="197" y="1367"/>
                  </a:lnTo>
                  <a:lnTo>
                    <a:pt x="200" y="1363"/>
                  </a:lnTo>
                  <a:lnTo>
                    <a:pt x="203" y="1358"/>
                  </a:lnTo>
                  <a:lnTo>
                    <a:pt x="208" y="1354"/>
                  </a:lnTo>
                  <a:lnTo>
                    <a:pt x="212" y="1349"/>
                  </a:lnTo>
                  <a:lnTo>
                    <a:pt x="222" y="1343"/>
                  </a:lnTo>
                  <a:lnTo>
                    <a:pt x="232" y="1336"/>
                  </a:lnTo>
                  <a:lnTo>
                    <a:pt x="242" y="1331"/>
                  </a:lnTo>
                  <a:lnTo>
                    <a:pt x="248" y="1328"/>
                  </a:lnTo>
                  <a:lnTo>
                    <a:pt x="253" y="1326"/>
                  </a:lnTo>
                  <a:lnTo>
                    <a:pt x="266" y="1322"/>
                  </a:lnTo>
                  <a:lnTo>
                    <a:pt x="271" y="1321"/>
                  </a:lnTo>
                  <a:lnTo>
                    <a:pt x="278" y="1319"/>
                  </a:lnTo>
                  <a:lnTo>
                    <a:pt x="290" y="1318"/>
                  </a:lnTo>
                  <a:lnTo>
                    <a:pt x="303" y="1317"/>
                  </a:lnTo>
                  <a:lnTo>
                    <a:pt x="320" y="1318"/>
                  </a:lnTo>
                  <a:lnTo>
                    <a:pt x="328" y="1318"/>
                  </a:lnTo>
                  <a:lnTo>
                    <a:pt x="336" y="1319"/>
                  </a:lnTo>
                  <a:lnTo>
                    <a:pt x="351" y="1322"/>
                  </a:lnTo>
                  <a:lnTo>
                    <a:pt x="366" y="1326"/>
                  </a:lnTo>
                  <a:lnTo>
                    <a:pt x="379" y="1331"/>
                  </a:lnTo>
                  <a:lnTo>
                    <a:pt x="391" y="1336"/>
                  </a:lnTo>
                  <a:lnTo>
                    <a:pt x="403" y="1343"/>
                  </a:lnTo>
                  <a:lnTo>
                    <a:pt x="416" y="1349"/>
                  </a:lnTo>
                  <a:lnTo>
                    <a:pt x="487" y="1211"/>
                  </a:lnTo>
                  <a:lnTo>
                    <a:pt x="466" y="1198"/>
                  </a:lnTo>
                  <a:lnTo>
                    <a:pt x="443" y="1188"/>
                  </a:lnTo>
                  <a:lnTo>
                    <a:pt x="432" y="1184"/>
                  </a:lnTo>
                  <a:lnTo>
                    <a:pt x="421" y="1179"/>
                  </a:lnTo>
                  <a:lnTo>
                    <a:pt x="409" y="1176"/>
                  </a:lnTo>
                  <a:lnTo>
                    <a:pt x="398" y="1172"/>
                  </a:lnTo>
                  <a:lnTo>
                    <a:pt x="386" y="1169"/>
                  </a:lnTo>
                  <a:lnTo>
                    <a:pt x="373" y="1166"/>
                  </a:lnTo>
                  <a:lnTo>
                    <a:pt x="361" y="1164"/>
                  </a:lnTo>
                  <a:lnTo>
                    <a:pt x="349" y="1163"/>
                  </a:lnTo>
                  <a:lnTo>
                    <a:pt x="336" y="1161"/>
                  </a:lnTo>
                  <a:lnTo>
                    <a:pt x="322" y="1160"/>
                  </a:lnTo>
                  <a:lnTo>
                    <a:pt x="296" y="1158"/>
                  </a:lnTo>
                  <a:lnTo>
                    <a:pt x="279" y="1160"/>
                  </a:lnTo>
                  <a:lnTo>
                    <a:pt x="263" y="1161"/>
                  </a:lnTo>
                  <a:lnTo>
                    <a:pt x="249" y="1162"/>
                  </a:lnTo>
                  <a:lnTo>
                    <a:pt x="233" y="1164"/>
                  </a:lnTo>
                  <a:lnTo>
                    <a:pt x="219" y="1167"/>
                  </a:lnTo>
                  <a:lnTo>
                    <a:pt x="205" y="1171"/>
                  </a:lnTo>
                  <a:lnTo>
                    <a:pt x="198" y="1172"/>
                  </a:lnTo>
                  <a:lnTo>
                    <a:pt x="191" y="1174"/>
                  </a:lnTo>
                  <a:lnTo>
                    <a:pt x="177" y="1179"/>
                  </a:lnTo>
                  <a:lnTo>
                    <a:pt x="165" y="1184"/>
                  </a:lnTo>
                  <a:lnTo>
                    <a:pt x="151" y="1189"/>
                  </a:lnTo>
                  <a:lnTo>
                    <a:pt x="139" y="1196"/>
                  </a:lnTo>
                  <a:lnTo>
                    <a:pt x="127" y="1203"/>
                  </a:lnTo>
                  <a:lnTo>
                    <a:pt x="116" y="1211"/>
                  </a:lnTo>
                  <a:lnTo>
                    <a:pt x="105" y="1218"/>
                  </a:lnTo>
                  <a:lnTo>
                    <a:pt x="94" y="1227"/>
                  </a:lnTo>
                  <a:lnTo>
                    <a:pt x="84" y="1236"/>
                  </a:lnTo>
                  <a:lnTo>
                    <a:pt x="75" y="1245"/>
                  </a:lnTo>
                  <a:lnTo>
                    <a:pt x="65" y="1255"/>
                  </a:lnTo>
                  <a:lnTo>
                    <a:pt x="57" y="1266"/>
                  </a:lnTo>
                  <a:lnTo>
                    <a:pt x="48" y="1277"/>
                  </a:lnTo>
                  <a:lnTo>
                    <a:pt x="41" y="1288"/>
                  </a:lnTo>
                  <a:lnTo>
                    <a:pt x="35" y="1301"/>
                  </a:lnTo>
                  <a:lnTo>
                    <a:pt x="28" y="1313"/>
                  </a:lnTo>
                  <a:lnTo>
                    <a:pt x="22" y="1325"/>
                  </a:lnTo>
                  <a:lnTo>
                    <a:pt x="17" y="1338"/>
                  </a:lnTo>
                  <a:lnTo>
                    <a:pt x="12" y="1352"/>
                  </a:lnTo>
                  <a:lnTo>
                    <a:pt x="9" y="1366"/>
                  </a:lnTo>
                  <a:lnTo>
                    <a:pt x="6" y="1381"/>
                  </a:lnTo>
                  <a:lnTo>
                    <a:pt x="4" y="1395"/>
                  </a:lnTo>
                  <a:lnTo>
                    <a:pt x="2" y="1403"/>
                  </a:lnTo>
                  <a:lnTo>
                    <a:pt x="1" y="1411"/>
                  </a:lnTo>
                  <a:lnTo>
                    <a:pt x="0" y="1426"/>
                  </a:lnTo>
                  <a:lnTo>
                    <a:pt x="0" y="1442"/>
                  </a:lnTo>
                  <a:lnTo>
                    <a:pt x="0" y="1457"/>
                  </a:lnTo>
                  <a:lnTo>
                    <a:pt x="1" y="1473"/>
                  </a:lnTo>
                  <a:lnTo>
                    <a:pt x="4" y="1488"/>
                  </a:lnTo>
                  <a:lnTo>
                    <a:pt x="6" y="1503"/>
                  </a:lnTo>
                  <a:lnTo>
                    <a:pt x="9" y="1517"/>
                  </a:lnTo>
                  <a:lnTo>
                    <a:pt x="12" y="1532"/>
                  </a:lnTo>
                  <a:lnTo>
                    <a:pt x="17" y="1545"/>
                  </a:lnTo>
                  <a:lnTo>
                    <a:pt x="22" y="1558"/>
                  </a:lnTo>
                  <a:lnTo>
                    <a:pt x="25" y="1565"/>
                  </a:lnTo>
                  <a:lnTo>
                    <a:pt x="28" y="1570"/>
                  </a:lnTo>
                  <a:lnTo>
                    <a:pt x="35" y="1583"/>
                  </a:lnTo>
                  <a:lnTo>
                    <a:pt x="41" y="1595"/>
                  </a:lnTo>
                  <a:lnTo>
                    <a:pt x="48" y="1606"/>
                  </a:lnTo>
                  <a:lnTo>
                    <a:pt x="57" y="1617"/>
                  </a:lnTo>
                  <a:lnTo>
                    <a:pt x="65" y="1627"/>
                  </a:lnTo>
                  <a:lnTo>
                    <a:pt x="75" y="1637"/>
                  </a:lnTo>
                  <a:lnTo>
                    <a:pt x="84" y="1647"/>
                  </a:lnTo>
                  <a:lnTo>
                    <a:pt x="94" y="1656"/>
                  </a:lnTo>
                  <a:lnTo>
                    <a:pt x="105" y="1665"/>
                  </a:lnTo>
                  <a:lnTo>
                    <a:pt x="116" y="1673"/>
                  </a:lnTo>
                  <a:lnTo>
                    <a:pt x="127" y="1680"/>
                  </a:lnTo>
                  <a:lnTo>
                    <a:pt x="139" y="1687"/>
                  </a:lnTo>
                  <a:lnTo>
                    <a:pt x="151" y="1693"/>
                  </a:lnTo>
                  <a:lnTo>
                    <a:pt x="165" y="1699"/>
                  </a:lnTo>
                  <a:lnTo>
                    <a:pt x="177" y="1704"/>
                  </a:lnTo>
                  <a:lnTo>
                    <a:pt x="191" y="1708"/>
                  </a:lnTo>
                  <a:lnTo>
                    <a:pt x="205" y="1713"/>
                  </a:lnTo>
                  <a:lnTo>
                    <a:pt x="219" y="1716"/>
                  </a:lnTo>
                  <a:lnTo>
                    <a:pt x="233" y="1719"/>
                  </a:lnTo>
                  <a:lnTo>
                    <a:pt x="249" y="1722"/>
                  </a:lnTo>
                  <a:lnTo>
                    <a:pt x="263" y="1723"/>
                  </a:lnTo>
                  <a:lnTo>
                    <a:pt x="279" y="1724"/>
                  </a:lnTo>
                  <a:lnTo>
                    <a:pt x="296" y="1724"/>
                  </a:lnTo>
                  <a:close/>
                  <a:moveTo>
                    <a:pt x="681" y="903"/>
                  </a:moveTo>
                  <a:lnTo>
                    <a:pt x="508" y="903"/>
                  </a:lnTo>
                  <a:lnTo>
                    <a:pt x="508" y="1707"/>
                  </a:lnTo>
                  <a:lnTo>
                    <a:pt x="681" y="1707"/>
                  </a:lnTo>
                  <a:lnTo>
                    <a:pt x="681" y="1441"/>
                  </a:lnTo>
                  <a:lnTo>
                    <a:pt x="681" y="1424"/>
                  </a:lnTo>
                  <a:lnTo>
                    <a:pt x="683" y="1408"/>
                  </a:lnTo>
                  <a:lnTo>
                    <a:pt x="684" y="1401"/>
                  </a:lnTo>
                  <a:lnTo>
                    <a:pt x="686" y="1394"/>
                  </a:lnTo>
                  <a:lnTo>
                    <a:pt x="687" y="1387"/>
                  </a:lnTo>
                  <a:lnTo>
                    <a:pt x="689" y="1381"/>
                  </a:lnTo>
                  <a:lnTo>
                    <a:pt x="693" y="1368"/>
                  </a:lnTo>
                  <a:lnTo>
                    <a:pt x="698" y="1358"/>
                  </a:lnTo>
                  <a:lnTo>
                    <a:pt x="701" y="1354"/>
                  </a:lnTo>
                  <a:lnTo>
                    <a:pt x="703" y="1349"/>
                  </a:lnTo>
                  <a:lnTo>
                    <a:pt x="707" y="1345"/>
                  </a:lnTo>
                  <a:lnTo>
                    <a:pt x="710" y="1341"/>
                  </a:lnTo>
                  <a:lnTo>
                    <a:pt x="718" y="1334"/>
                  </a:lnTo>
                  <a:lnTo>
                    <a:pt x="726" y="1327"/>
                  </a:lnTo>
                  <a:lnTo>
                    <a:pt x="733" y="1323"/>
                  </a:lnTo>
                  <a:lnTo>
                    <a:pt x="742" y="1318"/>
                  </a:lnTo>
                  <a:lnTo>
                    <a:pt x="752" y="1315"/>
                  </a:lnTo>
                  <a:lnTo>
                    <a:pt x="762" y="1314"/>
                  </a:lnTo>
                  <a:lnTo>
                    <a:pt x="772" y="1312"/>
                  </a:lnTo>
                  <a:lnTo>
                    <a:pt x="783" y="1312"/>
                  </a:lnTo>
                  <a:lnTo>
                    <a:pt x="794" y="1312"/>
                  </a:lnTo>
                  <a:lnTo>
                    <a:pt x="806" y="1314"/>
                  </a:lnTo>
                  <a:lnTo>
                    <a:pt x="816" y="1315"/>
                  </a:lnTo>
                  <a:lnTo>
                    <a:pt x="824" y="1318"/>
                  </a:lnTo>
                  <a:lnTo>
                    <a:pt x="833" y="1323"/>
                  </a:lnTo>
                  <a:lnTo>
                    <a:pt x="841" y="1327"/>
                  </a:lnTo>
                  <a:lnTo>
                    <a:pt x="849" y="1333"/>
                  </a:lnTo>
                  <a:lnTo>
                    <a:pt x="852" y="1336"/>
                  </a:lnTo>
                  <a:lnTo>
                    <a:pt x="856" y="1339"/>
                  </a:lnTo>
                  <a:lnTo>
                    <a:pt x="861" y="1347"/>
                  </a:lnTo>
                  <a:lnTo>
                    <a:pt x="865" y="1355"/>
                  </a:lnTo>
                  <a:lnTo>
                    <a:pt x="868" y="1361"/>
                  </a:lnTo>
                  <a:lnTo>
                    <a:pt x="870" y="1365"/>
                  </a:lnTo>
                  <a:lnTo>
                    <a:pt x="872" y="1369"/>
                  </a:lnTo>
                  <a:lnTo>
                    <a:pt x="873" y="1375"/>
                  </a:lnTo>
                  <a:lnTo>
                    <a:pt x="877" y="1386"/>
                  </a:lnTo>
                  <a:lnTo>
                    <a:pt x="878" y="1399"/>
                  </a:lnTo>
                  <a:lnTo>
                    <a:pt x="879" y="1413"/>
                  </a:lnTo>
                  <a:lnTo>
                    <a:pt x="880" y="1426"/>
                  </a:lnTo>
                  <a:lnTo>
                    <a:pt x="880" y="1707"/>
                  </a:lnTo>
                  <a:lnTo>
                    <a:pt x="1053" y="1707"/>
                  </a:lnTo>
                  <a:lnTo>
                    <a:pt x="1053" y="1378"/>
                  </a:lnTo>
                  <a:lnTo>
                    <a:pt x="1053" y="1364"/>
                  </a:lnTo>
                  <a:lnTo>
                    <a:pt x="1052" y="1351"/>
                  </a:lnTo>
                  <a:lnTo>
                    <a:pt x="1051" y="1338"/>
                  </a:lnTo>
                  <a:lnTo>
                    <a:pt x="1050" y="1325"/>
                  </a:lnTo>
                  <a:lnTo>
                    <a:pt x="1048" y="1314"/>
                  </a:lnTo>
                  <a:lnTo>
                    <a:pt x="1044" y="1302"/>
                  </a:lnTo>
                  <a:lnTo>
                    <a:pt x="1042" y="1291"/>
                  </a:lnTo>
                  <a:lnTo>
                    <a:pt x="1039" y="1281"/>
                  </a:lnTo>
                  <a:lnTo>
                    <a:pt x="1034" y="1269"/>
                  </a:lnTo>
                  <a:lnTo>
                    <a:pt x="1031" y="1261"/>
                  </a:lnTo>
                  <a:lnTo>
                    <a:pt x="1025" y="1251"/>
                  </a:lnTo>
                  <a:lnTo>
                    <a:pt x="1021" y="1243"/>
                  </a:lnTo>
                  <a:lnTo>
                    <a:pt x="1015" y="1234"/>
                  </a:lnTo>
                  <a:lnTo>
                    <a:pt x="1010" y="1226"/>
                  </a:lnTo>
                  <a:lnTo>
                    <a:pt x="1003" y="1218"/>
                  </a:lnTo>
                  <a:lnTo>
                    <a:pt x="998" y="1212"/>
                  </a:lnTo>
                  <a:lnTo>
                    <a:pt x="990" y="1205"/>
                  </a:lnTo>
                  <a:lnTo>
                    <a:pt x="983" y="1199"/>
                  </a:lnTo>
                  <a:lnTo>
                    <a:pt x="975" y="1194"/>
                  </a:lnTo>
                  <a:lnTo>
                    <a:pt x="968" y="1188"/>
                  </a:lnTo>
                  <a:lnTo>
                    <a:pt x="960" y="1184"/>
                  </a:lnTo>
                  <a:lnTo>
                    <a:pt x="952" y="1179"/>
                  </a:lnTo>
                  <a:lnTo>
                    <a:pt x="943" y="1175"/>
                  </a:lnTo>
                  <a:lnTo>
                    <a:pt x="934" y="1172"/>
                  </a:lnTo>
                  <a:lnTo>
                    <a:pt x="924" y="1168"/>
                  </a:lnTo>
                  <a:lnTo>
                    <a:pt x="915" y="1166"/>
                  </a:lnTo>
                  <a:lnTo>
                    <a:pt x="905" y="1164"/>
                  </a:lnTo>
                  <a:lnTo>
                    <a:pt x="895" y="1162"/>
                  </a:lnTo>
                  <a:lnTo>
                    <a:pt x="885" y="1161"/>
                  </a:lnTo>
                  <a:lnTo>
                    <a:pt x="874" y="1160"/>
                  </a:lnTo>
                  <a:lnTo>
                    <a:pt x="864" y="1160"/>
                  </a:lnTo>
                  <a:lnTo>
                    <a:pt x="853" y="1158"/>
                  </a:lnTo>
                  <a:lnTo>
                    <a:pt x="839" y="1160"/>
                  </a:lnTo>
                  <a:lnTo>
                    <a:pt x="826" y="1161"/>
                  </a:lnTo>
                  <a:lnTo>
                    <a:pt x="812" y="1162"/>
                  </a:lnTo>
                  <a:lnTo>
                    <a:pt x="800" y="1165"/>
                  </a:lnTo>
                  <a:lnTo>
                    <a:pt x="788" y="1167"/>
                  </a:lnTo>
                  <a:lnTo>
                    <a:pt x="776" y="1172"/>
                  </a:lnTo>
                  <a:lnTo>
                    <a:pt x="764" y="1176"/>
                  </a:lnTo>
                  <a:lnTo>
                    <a:pt x="753" y="1182"/>
                  </a:lnTo>
                  <a:lnTo>
                    <a:pt x="743" y="1187"/>
                  </a:lnTo>
                  <a:lnTo>
                    <a:pt x="733" y="1194"/>
                  </a:lnTo>
                  <a:lnTo>
                    <a:pt x="723" y="1201"/>
                  </a:lnTo>
                  <a:lnTo>
                    <a:pt x="714" y="1208"/>
                  </a:lnTo>
                  <a:lnTo>
                    <a:pt x="706" y="1217"/>
                  </a:lnTo>
                  <a:lnTo>
                    <a:pt x="702" y="1222"/>
                  </a:lnTo>
                  <a:lnTo>
                    <a:pt x="698" y="1226"/>
                  </a:lnTo>
                  <a:lnTo>
                    <a:pt x="690" y="1236"/>
                  </a:lnTo>
                  <a:lnTo>
                    <a:pt x="683" y="1246"/>
                  </a:lnTo>
                  <a:lnTo>
                    <a:pt x="681" y="1246"/>
                  </a:lnTo>
                  <a:lnTo>
                    <a:pt x="681" y="903"/>
                  </a:lnTo>
                  <a:close/>
                  <a:moveTo>
                    <a:pt x="1341" y="1724"/>
                  </a:moveTo>
                  <a:lnTo>
                    <a:pt x="1356" y="1724"/>
                  </a:lnTo>
                  <a:lnTo>
                    <a:pt x="1372" y="1723"/>
                  </a:lnTo>
                  <a:lnTo>
                    <a:pt x="1386" y="1720"/>
                  </a:lnTo>
                  <a:lnTo>
                    <a:pt x="1400" y="1718"/>
                  </a:lnTo>
                  <a:lnTo>
                    <a:pt x="1412" y="1714"/>
                  </a:lnTo>
                  <a:lnTo>
                    <a:pt x="1424" y="1710"/>
                  </a:lnTo>
                  <a:lnTo>
                    <a:pt x="1436" y="1705"/>
                  </a:lnTo>
                  <a:lnTo>
                    <a:pt x="1448" y="1699"/>
                  </a:lnTo>
                  <a:lnTo>
                    <a:pt x="1458" y="1694"/>
                  </a:lnTo>
                  <a:lnTo>
                    <a:pt x="1468" y="1687"/>
                  </a:lnTo>
                  <a:lnTo>
                    <a:pt x="1476" y="1679"/>
                  </a:lnTo>
                  <a:lnTo>
                    <a:pt x="1485" y="1672"/>
                  </a:lnTo>
                  <a:lnTo>
                    <a:pt x="1493" y="1663"/>
                  </a:lnTo>
                  <a:lnTo>
                    <a:pt x="1501" y="1654"/>
                  </a:lnTo>
                  <a:lnTo>
                    <a:pt x="1508" y="1645"/>
                  </a:lnTo>
                  <a:lnTo>
                    <a:pt x="1514" y="1635"/>
                  </a:lnTo>
                  <a:lnTo>
                    <a:pt x="1516" y="1635"/>
                  </a:lnTo>
                  <a:lnTo>
                    <a:pt x="1516" y="1707"/>
                  </a:lnTo>
                  <a:lnTo>
                    <a:pt x="1690" y="1707"/>
                  </a:lnTo>
                  <a:lnTo>
                    <a:pt x="1690" y="1176"/>
                  </a:lnTo>
                  <a:lnTo>
                    <a:pt x="1516" y="1176"/>
                  </a:lnTo>
                  <a:lnTo>
                    <a:pt x="1516" y="1248"/>
                  </a:lnTo>
                  <a:lnTo>
                    <a:pt x="1514" y="1248"/>
                  </a:lnTo>
                  <a:lnTo>
                    <a:pt x="1508" y="1238"/>
                  </a:lnTo>
                  <a:lnTo>
                    <a:pt x="1501" y="1229"/>
                  </a:lnTo>
                  <a:lnTo>
                    <a:pt x="1493" y="1221"/>
                  </a:lnTo>
                  <a:lnTo>
                    <a:pt x="1485" y="1212"/>
                  </a:lnTo>
                  <a:lnTo>
                    <a:pt x="1476" y="1204"/>
                  </a:lnTo>
                  <a:lnTo>
                    <a:pt x="1468" y="1196"/>
                  </a:lnTo>
                  <a:lnTo>
                    <a:pt x="1463" y="1193"/>
                  </a:lnTo>
                  <a:lnTo>
                    <a:pt x="1458" y="1189"/>
                  </a:lnTo>
                  <a:lnTo>
                    <a:pt x="1448" y="1184"/>
                  </a:lnTo>
                  <a:lnTo>
                    <a:pt x="1436" y="1178"/>
                  </a:lnTo>
                  <a:lnTo>
                    <a:pt x="1424" y="1173"/>
                  </a:lnTo>
                  <a:lnTo>
                    <a:pt x="1412" y="1168"/>
                  </a:lnTo>
                  <a:lnTo>
                    <a:pt x="1400" y="1165"/>
                  </a:lnTo>
                  <a:lnTo>
                    <a:pt x="1386" y="1163"/>
                  </a:lnTo>
                  <a:lnTo>
                    <a:pt x="1372" y="1161"/>
                  </a:lnTo>
                  <a:lnTo>
                    <a:pt x="1356" y="1160"/>
                  </a:lnTo>
                  <a:lnTo>
                    <a:pt x="1341" y="1158"/>
                  </a:lnTo>
                  <a:lnTo>
                    <a:pt x="1328" y="1160"/>
                  </a:lnTo>
                  <a:lnTo>
                    <a:pt x="1315" y="1160"/>
                  </a:lnTo>
                  <a:lnTo>
                    <a:pt x="1303" y="1162"/>
                  </a:lnTo>
                  <a:lnTo>
                    <a:pt x="1291" y="1164"/>
                  </a:lnTo>
                  <a:lnTo>
                    <a:pt x="1279" y="1166"/>
                  </a:lnTo>
                  <a:lnTo>
                    <a:pt x="1266" y="1169"/>
                  </a:lnTo>
                  <a:lnTo>
                    <a:pt x="1254" y="1173"/>
                  </a:lnTo>
                  <a:lnTo>
                    <a:pt x="1243" y="1177"/>
                  </a:lnTo>
                  <a:lnTo>
                    <a:pt x="1232" y="1182"/>
                  </a:lnTo>
                  <a:lnTo>
                    <a:pt x="1221" y="1187"/>
                  </a:lnTo>
                  <a:lnTo>
                    <a:pt x="1211" y="1193"/>
                  </a:lnTo>
                  <a:lnTo>
                    <a:pt x="1201" y="1199"/>
                  </a:lnTo>
                  <a:lnTo>
                    <a:pt x="1191" y="1206"/>
                  </a:lnTo>
                  <a:lnTo>
                    <a:pt x="1181" y="1214"/>
                  </a:lnTo>
                  <a:lnTo>
                    <a:pt x="1172" y="1222"/>
                  </a:lnTo>
                  <a:lnTo>
                    <a:pt x="1163" y="1231"/>
                  </a:lnTo>
                  <a:lnTo>
                    <a:pt x="1155" y="1239"/>
                  </a:lnTo>
                  <a:lnTo>
                    <a:pt x="1147" y="1249"/>
                  </a:lnTo>
                  <a:lnTo>
                    <a:pt x="1140" y="1259"/>
                  </a:lnTo>
                  <a:lnTo>
                    <a:pt x="1132" y="1271"/>
                  </a:lnTo>
                  <a:lnTo>
                    <a:pt x="1125" y="1282"/>
                  </a:lnTo>
                  <a:lnTo>
                    <a:pt x="1120" y="1294"/>
                  </a:lnTo>
                  <a:lnTo>
                    <a:pt x="1114" y="1306"/>
                  </a:lnTo>
                  <a:lnTo>
                    <a:pt x="1109" y="1318"/>
                  </a:lnTo>
                  <a:lnTo>
                    <a:pt x="1104" y="1333"/>
                  </a:lnTo>
                  <a:lnTo>
                    <a:pt x="1101" y="1346"/>
                  </a:lnTo>
                  <a:lnTo>
                    <a:pt x="1098" y="1361"/>
                  </a:lnTo>
                  <a:lnTo>
                    <a:pt x="1094" y="1376"/>
                  </a:lnTo>
                  <a:lnTo>
                    <a:pt x="1092" y="1392"/>
                  </a:lnTo>
                  <a:lnTo>
                    <a:pt x="1091" y="1407"/>
                  </a:lnTo>
                  <a:lnTo>
                    <a:pt x="1090" y="1424"/>
                  </a:lnTo>
                  <a:lnTo>
                    <a:pt x="1089" y="1442"/>
                  </a:lnTo>
                  <a:lnTo>
                    <a:pt x="1090" y="1458"/>
                  </a:lnTo>
                  <a:lnTo>
                    <a:pt x="1091" y="1475"/>
                  </a:lnTo>
                  <a:lnTo>
                    <a:pt x="1092" y="1492"/>
                  </a:lnTo>
                  <a:lnTo>
                    <a:pt x="1094" y="1507"/>
                  </a:lnTo>
                  <a:lnTo>
                    <a:pt x="1098" y="1523"/>
                  </a:lnTo>
                  <a:lnTo>
                    <a:pt x="1101" y="1537"/>
                  </a:lnTo>
                  <a:lnTo>
                    <a:pt x="1104" y="1550"/>
                  </a:lnTo>
                  <a:lnTo>
                    <a:pt x="1109" y="1564"/>
                  </a:lnTo>
                  <a:lnTo>
                    <a:pt x="1114" y="1577"/>
                  </a:lnTo>
                  <a:lnTo>
                    <a:pt x="1120" y="1589"/>
                  </a:lnTo>
                  <a:lnTo>
                    <a:pt x="1125" y="1602"/>
                  </a:lnTo>
                  <a:lnTo>
                    <a:pt x="1132" y="1613"/>
                  </a:lnTo>
                  <a:lnTo>
                    <a:pt x="1140" y="1624"/>
                  </a:lnTo>
                  <a:lnTo>
                    <a:pt x="1147" y="1634"/>
                  </a:lnTo>
                  <a:lnTo>
                    <a:pt x="1155" y="1644"/>
                  </a:lnTo>
                  <a:lnTo>
                    <a:pt x="1163" y="1653"/>
                  </a:lnTo>
                  <a:lnTo>
                    <a:pt x="1172" y="1662"/>
                  </a:lnTo>
                  <a:lnTo>
                    <a:pt x="1181" y="1669"/>
                  </a:lnTo>
                  <a:lnTo>
                    <a:pt x="1191" y="1677"/>
                  </a:lnTo>
                  <a:lnTo>
                    <a:pt x="1201" y="1684"/>
                  </a:lnTo>
                  <a:lnTo>
                    <a:pt x="1211" y="1690"/>
                  </a:lnTo>
                  <a:lnTo>
                    <a:pt x="1221" y="1696"/>
                  </a:lnTo>
                  <a:lnTo>
                    <a:pt x="1232" y="1702"/>
                  </a:lnTo>
                  <a:lnTo>
                    <a:pt x="1243" y="1706"/>
                  </a:lnTo>
                  <a:lnTo>
                    <a:pt x="1254" y="1710"/>
                  </a:lnTo>
                  <a:lnTo>
                    <a:pt x="1266" y="1714"/>
                  </a:lnTo>
                  <a:lnTo>
                    <a:pt x="1279" y="1717"/>
                  </a:lnTo>
                  <a:lnTo>
                    <a:pt x="1291" y="1719"/>
                  </a:lnTo>
                  <a:lnTo>
                    <a:pt x="1303" y="1722"/>
                  </a:lnTo>
                  <a:lnTo>
                    <a:pt x="1315" y="1723"/>
                  </a:lnTo>
                  <a:lnTo>
                    <a:pt x="1328" y="1724"/>
                  </a:lnTo>
                  <a:lnTo>
                    <a:pt x="1341" y="1724"/>
                  </a:lnTo>
                  <a:close/>
                  <a:moveTo>
                    <a:pt x="1389" y="1566"/>
                  </a:moveTo>
                  <a:lnTo>
                    <a:pt x="1376" y="1565"/>
                  </a:lnTo>
                  <a:lnTo>
                    <a:pt x="1370" y="1565"/>
                  </a:lnTo>
                  <a:lnTo>
                    <a:pt x="1364" y="1564"/>
                  </a:lnTo>
                  <a:lnTo>
                    <a:pt x="1352" y="1560"/>
                  </a:lnTo>
                  <a:lnTo>
                    <a:pt x="1346" y="1559"/>
                  </a:lnTo>
                  <a:lnTo>
                    <a:pt x="1341" y="1557"/>
                  </a:lnTo>
                  <a:lnTo>
                    <a:pt x="1330" y="1552"/>
                  </a:lnTo>
                  <a:lnTo>
                    <a:pt x="1325" y="1549"/>
                  </a:lnTo>
                  <a:lnTo>
                    <a:pt x="1320" y="1546"/>
                  </a:lnTo>
                  <a:lnTo>
                    <a:pt x="1315" y="1543"/>
                  </a:lnTo>
                  <a:lnTo>
                    <a:pt x="1311" y="1539"/>
                  </a:lnTo>
                  <a:lnTo>
                    <a:pt x="1302" y="1532"/>
                  </a:lnTo>
                  <a:lnTo>
                    <a:pt x="1294" y="1524"/>
                  </a:lnTo>
                  <a:lnTo>
                    <a:pt x="1288" y="1514"/>
                  </a:lnTo>
                  <a:lnTo>
                    <a:pt x="1282" y="1504"/>
                  </a:lnTo>
                  <a:lnTo>
                    <a:pt x="1279" y="1498"/>
                  </a:lnTo>
                  <a:lnTo>
                    <a:pt x="1276" y="1493"/>
                  </a:lnTo>
                  <a:lnTo>
                    <a:pt x="1272" y="1482"/>
                  </a:lnTo>
                  <a:lnTo>
                    <a:pt x="1270" y="1468"/>
                  </a:lnTo>
                  <a:lnTo>
                    <a:pt x="1269" y="1462"/>
                  </a:lnTo>
                  <a:lnTo>
                    <a:pt x="1268" y="1455"/>
                  </a:lnTo>
                  <a:lnTo>
                    <a:pt x="1268" y="1442"/>
                  </a:lnTo>
                  <a:lnTo>
                    <a:pt x="1268" y="1427"/>
                  </a:lnTo>
                  <a:lnTo>
                    <a:pt x="1270" y="1415"/>
                  </a:lnTo>
                  <a:lnTo>
                    <a:pt x="1271" y="1408"/>
                  </a:lnTo>
                  <a:lnTo>
                    <a:pt x="1272" y="1402"/>
                  </a:lnTo>
                  <a:lnTo>
                    <a:pt x="1276" y="1391"/>
                  </a:lnTo>
                  <a:lnTo>
                    <a:pt x="1279" y="1385"/>
                  </a:lnTo>
                  <a:lnTo>
                    <a:pt x="1282" y="1379"/>
                  </a:lnTo>
                  <a:lnTo>
                    <a:pt x="1288" y="1369"/>
                  </a:lnTo>
                  <a:lnTo>
                    <a:pt x="1294" y="1359"/>
                  </a:lnTo>
                  <a:lnTo>
                    <a:pt x="1302" y="1351"/>
                  </a:lnTo>
                  <a:lnTo>
                    <a:pt x="1306" y="1347"/>
                  </a:lnTo>
                  <a:lnTo>
                    <a:pt x="1311" y="1344"/>
                  </a:lnTo>
                  <a:lnTo>
                    <a:pt x="1315" y="1341"/>
                  </a:lnTo>
                  <a:lnTo>
                    <a:pt x="1320" y="1337"/>
                  </a:lnTo>
                  <a:lnTo>
                    <a:pt x="1330" y="1331"/>
                  </a:lnTo>
                  <a:lnTo>
                    <a:pt x="1341" y="1326"/>
                  </a:lnTo>
                  <a:lnTo>
                    <a:pt x="1352" y="1323"/>
                  </a:lnTo>
                  <a:lnTo>
                    <a:pt x="1364" y="1319"/>
                  </a:lnTo>
                  <a:lnTo>
                    <a:pt x="1370" y="1318"/>
                  </a:lnTo>
                  <a:lnTo>
                    <a:pt x="1376" y="1318"/>
                  </a:lnTo>
                  <a:lnTo>
                    <a:pt x="1389" y="1317"/>
                  </a:lnTo>
                  <a:lnTo>
                    <a:pt x="1402" y="1318"/>
                  </a:lnTo>
                  <a:lnTo>
                    <a:pt x="1414" y="1319"/>
                  </a:lnTo>
                  <a:lnTo>
                    <a:pt x="1426" y="1323"/>
                  </a:lnTo>
                  <a:lnTo>
                    <a:pt x="1432" y="1324"/>
                  </a:lnTo>
                  <a:lnTo>
                    <a:pt x="1438" y="1326"/>
                  </a:lnTo>
                  <a:lnTo>
                    <a:pt x="1449" y="1331"/>
                  </a:lnTo>
                  <a:lnTo>
                    <a:pt x="1454" y="1334"/>
                  </a:lnTo>
                  <a:lnTo>
                    <a:pt x="1459" y="1337"/>
                  </a:lnTo>
                  <a:lnTo>
                    <a:pt x="1463" y="1341"/>
                  </a:lnTo>
                  <a:lnTo>
                    <a:pt x="1469" y="1344"/>
                  </a:lnTo>
                  <a:lnTo>
                    <a:pt x="1476" y="1351"/>
                  </a:lnTo>
                  <a:lnTo>
                    <a:pt x="1484" y="1359"/>
                  </a:lnTo>
                  <a:lnTo>
                    <a:pt x="1492" y="1369"/>
                  </a:lnTo>
                  <a:lnTo>
                    <a:pt x="1498" y="1379"/>
                  </a:lnTo>
                  <a:lnTo>
                    <a:pt x="1500" y="1385"/>
                  </a:lnTo>
                  <a:lnTo>
                    <a:pt x="1503" y="1391"/>
                  </a:lnTo>
                  <a:lnTo>
                    <a:pt x="1506" y="1402"/>
                  </a:lnTo>
                  <a:lnTo>
                    <a:pt x="1510" y="1415"/>
                  </a:lnTo>
                  <a:lnTo>
                    <a:pt x="1511" y="1421"/>
                  </a:lnTo>
                  <a:lnTo>
                    <a:pt x="1511" y="1427"/>
                  </a:lnTo>
                  <a:lnTo>
                    <a:pt x="1512" y="1442"/>
                  </a:lnTo>
                  <a:lnTo>
                    <a:pt x="1511" y="1455"/>
                  </a:lnTo>
                  <a:lnTo>
                    <a:pt x="1510" y="1468"/>
                  </a:lnTo>
                  <a:lnTo>
                    <a:pt x="1509" y="1475"/>
                  </a:lnTo>
                  <a:lnTo>
                    <a:pt x="1506" y="1482"/>
                  </a:lnTo>
                  <a:lnTo>
                    <a:pt x="1503" y="1493"/>
                  </a:lnTo>
                  <a:lnTo>
                    <a:pt x="1500" y="1498"/>
                  </a:lnTo>
                  <a:lnTo>
                    <a:pt x="1498" y="1504"/>
                  </a:lnTo>
                  <a:lnTo>
                    <a:pt x="1492" y="1514"/>
                  </a:lnTo>
                  <a:lnTo>
                    <a:pt x="1484" y="1524"/>
                  </a:lnTo>
                  <a:lnTo>
                    <a:pt x="1476" y="1532"/>
                  </a:lnTo>
                  <a:lnTo>
                    <a:pt x="1473" y="1536"/>
                  </a:lnTo>
                  <a:lnTo>
                    <a:pt x="1469" y="1539"/>
                  </a:lnTo>
                  <a:lnTo>
                    <a:pt x="1463" y="1543"/>
                  </a:lnTo>
                  <a:lnTo>
                    <a:pt x="1459" y="1546"/>
                  </a:lnTo>
                  <a:lnTo>
                    <a:pt x="1449" y="1552"/>
                  </a:lnTo>
                  <a:lnTo>
                    <a:pt x="1438" y="1557"/>
                  </a:lnTo>
                  <a:lnTo>
                    <a:pt x="1426" y="1560"/>
                  </a:lnTo>
                  <a:lnTo>
                    <a:pt x="1414" y="1564"/>
                  </a:lnTo>
                  <a:lnTo>
                    <a:pt x="1402" y="1565"/>
                  </a:lnTo>
                  <a:lnTo>
                    <a:pt x="1389" y="1566"/>
                  </a:lnTo>
                  <a:close/>
                  <a:moveTo>
                    <a:pt x="2100" y="1158"/>
                  </a:moveTo>
                  <a:lnTo>
                    <a:pt x="2086" y="1160"/>
                  </a:lnTo>
                  <a:lnTo>
                    <a:pt x="2072" y="1161"/>
                  </a:lnTo>
                  <a:lnTo>
                    <a:pt x="2058" y="1163"/>
                  </a:lnTo>
                  <a:lnTo>
                    <a:pt x="2046" y="1165"/>
                  </a:lnTo>
                  <a:lnTo>
                    <a:pt x="2034" y="1169"/>
                  </a:lnTo>
                  <a:lnTo>
                    <a:pt x="2022" y="1174"/>
                  </a:lnTo>
                  <a:lnTo>
                    <a:pt x="2010" y="1178"/>
                  </a:lnTo>
                  <a:lnTo>
                    <a:pt x="1998" y="1184"/>
                  </a:lnTo>
                  <a:lnTo>
                    <a:pt x="1987" y="1191"/>
                  </a:lnTo>
                  <a:lnTo>
                    <a:pt x="1977" y="1198"/>
                  </a:lnTo>
                  <a:lnTo>
                    <a:pt x="1967" y="1206"/>
                  </a:lnTo>
                  <a:lnTo>
                    <a:pt x="1959" y="1215"/>
                  </a:lnTo>
                  <a:lnTo>
                    <a:pt x="1950" y="1225"/>
                  </a:lnTo>
                  <a:lnTo>
                    <a:pt x="1941" y="1235"/>
                  </a:lnTo>
                  <a:lnTo>
                    <a:pt x="1933" y="1245"/>
                  </a:lnTo>
                  <a:lnTo>
                    <a:pt x="1926" y="1256"/>
                  </a:lnTo>
                  <a:lnTo>
                    <a:pt x="1924" y="1256"/>
                  </a:lnTo>
                  <a:lnTo>
                    <a:pt x="1924" y="1176"/>
                  </a:lnTo>
                  <a:lnTo>
                    <a:pt x="1754" y="1176"/>
                  </a:lnTo>
                  <a:lnTo>
                    <a:pt x="1754" y="1707"/>
                  </a:lnTo>
                  <a:lnTo>
                    <a:pt x="1927" y="1707"/>
                  </a:lnTo>
                  <a:lnTo>
                    <a:pt x="1927" y="1441"/>
                  </a:lnTo>
                  <a:lnTo>
                    <a:pt x="1927" y="1424"/>
                  </a:lnTo>
                  <a:lnTo>
                    <a:pt x="1930" y="1408"/>
                  </a:lnTo>
                  <a:lnTo>
                    <a:pt x="1931" y="1401"/>
                  </a:lnTo>
                  <a:lnTo>
                    <a:pt x="1932" y="1394"/>
                  </a:lnTo>
                  <a:lnTo>
                    <a:pt x="1933" y="1387"/>
                  </a:lnTo>
                  <a:lnTo>
                    <a:pt x="1935" y="1381"/>
                  </a:lnTo>
                  <a:lnTo>
                    <a:pt x="1940" y="1368"/>
                  </a:lnTo>
                  <a:lnTo>
                    <a:pt x="1944" y="1358"/>
                  </a:lnTo>
                  <a:lnTo>
                    <a:pt x="1947" y="1354"/>
                  </a:lnTo>
                  <a:lnTo>
                    <a:pt x="1950" y="1349"/>
                  </a:lnTo>
                  <a:lnTo>
                    <a:pt x="1953" y="1345"/>
                  </a:lnTo>
                  <a:lnTo>
                    <a:pt x="1956" y="1341"/>
                  </a:lnTo>
                  <a:lnTo>
                    <a:pt x="1964" y="1334"/>
                  </a:lnTo>
                  <a:lnTo>
                    <a:pt x="1972" y="1327"/>
                  </a:lnTo>
                  <a:lnTo>
                    <a:pt x="1980" y="1323"/>
                  </a:lnTo>
                  <a:lnTo>
                    <a:pt x="1989" y="1318"/>
                  </a:lnTo>
                  <a:lnTo>
                    <a:pt x="1998" y="1315"/>
                  </a:lnTo>
                  <a:lnTo>
                    <a:pt x="2008" y="1314"/>
                  </a:lnTo>
                  <a:lnTo>
                    <a:pt x="2018" y="1312"/>
                  </a:lnTo>
                  <a:lnTo>
                    <a:pt x="2030" y="1312"/>
                  </a:lnTo>
                  <a:lnTo>
                    <a:pt x="2041" y="1312"/>
                  </a:lnTo>
                  <a:lnTo>
                    <a:pt x="2052" y="1314"/>
                  </a:lnTo>
                  <a:lnTo>
                    <a:pt x="2063" y="1315"/>
                  </a:lnTo>
                  <a:lnTo>
                    <a:pt x="2072" y="1318"/>
                  </a:lnTo>
                  <a:lnTo>
                    <a:pt x="2081" y="1323"/>
                  </a:lnTo>
                  <a:lnTo>
                    <a:pt x="2088" y="1327"/>
                  </a:lnTo>
                  <a:lnTo>
                    <a:pt x="2096" y="1333"/>
                  </a:lnTo>
                  <a:lnTo>
                    <a:pt x="2100" y="1336"/>
                  </a:lnTo>
                  <a:lnTo>
                    <a:pt x="2103" y="1339"/>
                  </a:lnTo>
                  <a:lnTo>
                    <a:pt x="2108" y="1347"/>
                  </a:lnTo>
                  <a:lnTo>
                    <a:pt x="2113" y="1355"/>
                  </a:lnTo>
                  <a:lnTo>
                    <a:pt x="2115" y="1361"/>
                  </a:lnTo>
                  <a:lnTo>
                    <a:pt x="2117" y="1365"/>
                  </a:lnTo>
                  <a:lnTo>
                    <a:pt x="2121" y="1375"/>
                  </a:lnTo>
                  <a:lnTo>
                    <a:pt x="2124" y="1386"/>
                  </a:lnTo>
                  <a:lnTo>
                    <a:pt x="2125" y="1399"/>
                  </a:lnTo>
                  <a:lnTo>
                    <a:pt x="2127" y="1413"/>
                  </a:lnTo>
                  <a:lnTo>
                    <a:pt x="2127" y="1426"/>
                  </a:lnTo>
                  <a:lnTo>
                    <a:pt x="2127" y="1707"/>
                  </a:lnTo>
                  <a:lnTo>
                    <a:pt x="2300" y="1707"/>
                  </a:lnTo>
                  <a:lnTo>
                    <a:pt x="2300" y="1378"/>
                  </a:lnTo>
                  <a:lnTo>
                    <a:pt x="2300" y="1364"/>
                  </a:lnTo>
                  <a:lnTo>
                    <a:pt x="2298" y="1351"/>
                  </a:lnTo>
                  <a:lnTo>
                    <a:pt x="2297" y="1338"/>
                  </a:lnTo>
                  <a:lnTo>
                    <a:pt x="2296" y="1325"/>
                  </a:lnTo>
                  <a:lnTo>
                    <a:pt x="2294" y="1314"/>
                  </a:lnTo>
                  <a:lnTo>
                    <a:pt x="2291" y="1302"/>
                  </a:lnTo>
                  <a:lnTo>
                    <a:pt x="2288" y="1291"/>
                  </a:lnTo>
                  <a:lnTo>
                    <a:pt x="2285" y="1281"/>
                  </a:lnTo>
                  <a:lnTo>
                    <a:pt x="2281" y="1269"/>
                  </a:lnTo>
                  <a:lnTo>
                    <a:pt x="2277" y="1261"/>
                  </a:lnTo>
                  <a:lnTo>
                    <a:pt x="2272" y="1251"/>
                  </a:lnTo>
                  <a:lnTo>
                    <a:pt x="2267" y="1243"/>
                  </a:lnTo>
                  <a:lnTo>
                    <a:pt x="2262" y="1234"/>
                  </a:lnTo>
                  <a:lnTo>
                    <a:pt x="2256" y="1226"/>
                  </a:lnTo>
                  <a:lnTo>
                    <a:pt x="2250" y="1218"/>
                  </a:lnTo>
                  <a:lnTo>
                    <a:pt x="2244" y="1212"/>
                  </a:lnTo>
                  <a:lnTo>
                    <a:pt x="2236" y="1205"/>
                  </a:lnTo>
                  <a:lnTo>
                    <a:pt x="2230" y="1199"/>
                  </a:lnTo>
                  <a:lnTo>
                    <a:pt x="2222" y="1194"/>
                  </a:lnTo>
                  <a:lnTo>
                    <a:pt x="2214" y="1188"/>
                  </a:lnTo>
                  <a:lnTo>
                    <a:pt x="2206" y="1184"/>
                  </a:lnTo>
                  <a:lnTo>
                    <a:pt x="2198" y="1179"/>
                  </a:lnTo>
                  <a:lnTo>
                    <a:pt x="2190" y="1175"/>
                  </a:lnTo>
                  <a:lnTo>
                    <a:pt x="2181" y="1172"/>
                  </a:lnTo>
                  <a:lnTo>
                    <a:pt x="2171" y="1168"/>
                  </a:lnTo>
                  <a:lnTo>
                    <a:pt x="2162" y="1166"/>
                  </a:lnTo>
                  <a:lnTo>
                    <a:pt x="2152" y="1164"/>
                  </a:lnTo>
                  <a:lnTo>
                    <a:pt x="2142" y="1162"/>
                  </a:lnTo>
                  <a:lnTo>
                    <a:pt x="2132" y="1161"/>
                  </a:lnTo>
                  <a:lnTo>
                    <a:pt x="2121" y="1160"/>
                  </a:lnTo>
                  <a:lnTo>
                    <a:pt x="2111" y="1160"/>
                  </a:lnTo>
                  <a:lnTo>
                    <a:pt x="2100" y="1158"/>
                  </a:lnTo>
                  <a:close/>
                  <a:moveTo>
                    <a:pt x="2651" y="1954"/>
                  </a:moveTo>
                  <a:lnTo>
                    <a:pt x="2668" y="1954"/>
                  </a:lnTo>
                  <a:lnTo>
                    <a:pt x="2685" y="1953"/>
                  </a:lnTo>
                  <a:lnTo>
                    <a:pt x="2701" y="1951"/>
                  </a:lnTo>
                  <a:lnTo>
                    <a:pt x="2716" y="1950"/>
                  </a:lnTo>
                  <a:lnTo>
                    <a:pt x="2731" y="1948"/>
                  </a:lnTo>
                  <a:lnTo>
                    <a:pt x="2745" y="1946"/>
                  </a:lnTo>
                  <a:lnTo>
                    <a:pt x="2759" y="1943"/>
                  </a:lnTo>
                  <a:lnTo>
                    <a:pt x="2773" y="1939"/>
                  </a:lnTo>
                  <a:lnTo>
                    <a:pt x="2779" y="1937"/>
                  </a:lnTo>
                  <a:lnTo>
                    <a:pt x="2786" y="1935"/>
                  </a:lnTo>
                  <a:lnTo>
                    <a:pt x="2798" y="1930"/>
                  </a:lnTo>
                  <a:lnTo>
                    <a:pt x="2810" y="1925"/>
                  </a:lnTo>
                  <a:lnTo>
                    <a:pt x="2822" y="1919"/>
                  </a:lnTo>
                  <a:lnTo>
                    <a:pt x="2833" y="1914"/>
                  </a:lnTo>
                  <a:lnTo>
                    <a:pt x="2844" y="1907"/>
                  </a:lnTo>
                  <a:lnTo>
                    <a:pt x="2853" y="1900"/>
                  </a:lnTo>
                  <a:lnTo>
                    <a:pt x="2863" y="1893"/>
                  </a:lnTo>
                  <a:lnTo>
                    <a:pt x="2872" y="1885"/>
                  </a:lnTo>
                  <a:lnTo>
                    <a:pt x="2879" y="1877"/>
                  </a:lnTo>
                  <a:lnTo>
                    <a:pt x="2887" y="1868"/>
                  </a:lnTo>
                  <a:lnTo>
                    <a:pt x="2895" y="1858"/>
                  </a:lnTo>
                  <a:lnTo>
                    <a:pt x="2902" y="1848"/>
                  </a:lnTo>
                  <a:lnTo>
                    <a:pt x="2907" y="1838"/>
                  </a:lnTo>
                  <a:lnTo>
                    <a:pt x="2913" y="1827"/>
                  </a:lnTo>
                  <a:lnTo>
                    <a:pt x="2918" y="1816"/>
                  </a:lnTo>
                  <a:lnTo>
                    <a:pt x="2923" y="1804"/>
                  </a:lnTo>
                  <a:lnTo>
                    <a:pt x="2926" y="1792"/>
                  </a:lnTo>
                  <a:lnTo>
                    <a:pt x="2929" y="1779"/>
                  </a:lnTo>
                  <a:lnTo>
                    <a:pt x="2932" y="1766"/>
                  </a:lnTo>
                  <a:lnTo>
                    <a:pt x="2934" y="1752"/>
                  </a:lnTo>
                  <a:lnTo>
                    <a:pt x="2936" y="1737"/>
                  </a:lnTo>
                  <a:lnTo>
                    <a:pt x="2937" y="1723"/>
                  </a:lnTo>
                  <a:lnTo>
                    <a:pt x="2937" y="1707"/>
                  </a:lnTo>
                  <a:lnTo>
                    <a:pt x="2937" y="1176"/>
                  </a:lnTo>
                  <a:lnTo>
                    <a:pt x="2764" y="1176"/>
                  </a:lnTo>
                  <a:lnTo>
                    <a:pt x="2764" y="1248"/>
                  </a:lnTo>
                  <a:lnTo>
                    <a:pt x="2762" y="1248"/>
                  </a:lnTo>
                  <a:lnTo>
                    <a:pt x="2755" y="1238"/>
                  </a:lnTo>
                  <a:lnTo>
                    <a:pt x="2748" y="1229"/>
                  </a:lnTo>
                  <a:lnTo>
                    <a:pt x="2741" y="1221"/>
                  </a:lnTo>
                  <a:lnTo>
                    <a:pt x="2733" y="1212"/>
                  </a:lnTo>
                  <a:lnTo>
                    <a:pt x="2724" y="1204"/>
                  </a:lnTo>
                  <a:lnTo>
                    <a:pt x="2715" y="1196"/>
                  </a:lnTo>
                  <a:lnTo>
                    <a:pt x="2709" y="1193"/>
                  </a:lnTo>
                  <a:lnTo>
                    <a:pt x="2705" y="1189"/>
                  </a:lnTo>
                  <a:lnTo>
                    <a:pt x="2694" y="1184"/>
                  </a:lnTo>
                  <a:lnTo>
                    <a:pt x="2684" y="1178"/>
                  </a:lnTo>
                  <a:lnTo>
                    <a:pt x="2672" y="1173"/>
                  </a:lnTo>
                  <a:lnTo>
                    <a:pt x="2659" y="1168"/>
                  </a:lnTo>
                  <a:lnTo>
                    <a:pt x="2646" y="1165"/>
                  </a:lnTo>
                  <a:lnTo>
                    <a:pt x="2633" y="1163"/>
                  </a:lnTo>
                  <a:lnTo>
                    <a:pt x="2618" y="1161"/>
                  </a:lnTo>
                  <a:lnTo>
                    <a:pt x="2604" y="1160"/>
                  </a:lnTo>
                  <a:lnTo>
                    <a:pt x="2587" y="1158"/>
                  </a:lnTo>
                  <a:lnTo>
                    <a:pt x="2575" y="1160"/>
                  </a:lnTo>
                  <a:lnTo>
                    <a:pt x="2562" y="1160"/>
                  </a:lnTo>
                  <a:lnTo>
                    <a:pt x="2537" y="1164"/>
                  </a:lnTo>
                  <a:lnTo>
                    <a:pt x="2525" y="1166"/>
                  </a:lnTo>
                  <a:lnTo>
                    <a:pt x="2513" y="1169"/>
                  </a:lnTo>
                  <a:lnTo>
                    <a:pt x="2502" y="1173"/>
                  </a:lnTo>
                  <a:lnTo>
                    <a:pt x="2491" y="1177"/>
                  </a:lnTo>
                  <a:lnTo>
                    <a:pt x="2479" y="1182"/>
                  </a:lnTo>
                  <a:lnTo>
                    <a:pt x="2468" y="1187"/>
                  </a:lnTo>
                  <a:lnTo>
                    <a:pt x="2457" y="1193"/>
                  </a:lnTo>
                  <a:lnTo>
                    <a:pt x="2447" y="1199"/>
                  </a:lnTo>
                  <a:lnTo>
                    <a:pt x="2437" y="1206"/>
                  </a:lnTo>
                  <a:lnTo>
                    <a:pt x="2428" y="1214"/>
                  </a:lnTo>
                  <a:lnTo>
                    <a:pt x="2419" y="1222"/>
                  </a:lnTo>
                  <a:lnTo>
                    <a:pt x="2411" y="1231"/>
                  </a:lnTo>
                  <a:lnTo>
                    <a:pt x="2402" y="1239"/>
                  </a:lnTo>
                  <a:lnTo>
                    <a:pt x="2394" y="1249"/>
                  </a:lnTo>
                  <a:lnTo>
                    <a:pt x="2386" y="1259"/>
                  </a:lnTo>
                  <a:lnTo>
                    <a:pt x="2379" y="1271"/>
                  </a:lnTo>
                  <a:lnTo>
                    <a:pt x="2373" y="1282"/>
                  </a:lnTo>
                  <a:lnTo>
                    <a:pt x="2366" y="1293"/>
                  </a:lnTo>
                  <a:lnTo>
                    <a:pt x="2361" y="1305"/>
                  </a:lnTo>
                  <a:lnTo>
                    <a:pt x="2356" y="1318"/>
                  </a:lnTo>
                  <a:lnTo>
                    <a:pt x="2352" y="1332"/>
                  </a:lnTo>
                  <a:lnTo>
                    <a:pt x="2347" y="1346"/>
                  </a:lnTo>
                  <a:lnTo>
                    <a:pt x="2346" y="1353"/>
                  </a:lnTo>
                  <a:lnTo>
                    <a:pt x="2344" y="1361"/>
                  </a:lnTo>
                  <a:lnTo>
                    <a:pt x="2342" y="1375"/>
                  </a:lnTo>
                  <a:lnTo>
                    <a:pt x="2340" y="1391"/>
                  </a:lnTo>
                  <a:lnTo>
                    <a:pt x="2337" y="1407"/>
                  </a:lnTo>
                  <a:lnTo>
                    <a:pt x="2336" y="1424"/>
                  </a:lnTo>
                  <a:lnTo>
                    <a:pt x="2336" y="1441"/>
                  </a:lnTo>
                  <a:lnTo>
                    <a:pt x="2336" y="1457"/>
                  </a:lnTo>
                  <a:lnTo>
                    <a:pt x="2337" y="1474"/>
                  </a:lnTo>
                  <a:lnTo>
                    <a:pt x="2338" y="1489"/>
                  </a:lnTo>
                  <a:lnTo>
                    <a:pt x="2341" y="1505"/>
                  </a:lnTo>
                  <a:lnTo>
                    <a:pt x="2344" y="1519"/>
                  </a:lnTo>
                  <a:lnTo>
                    <a:pt x="2347" y="1534"/>
                  </a:lnTo>
                  <a:lnTo>
                    <a:pt x="2352" y="1548"/>
                  </a:lnTo>
                  <a:lnTo>
                    <a:pt x="2356" y="1562"/>
                  </a:lnTo>
                  <a:lnTo>
                    <a:pt x="2361" y="1574"/>
                  </a:lnTo>
                  <a:lnTo>
                    <a:pt x="2366" y="1586"/>
                  </a:lnTo>
                  <a:lnTo>
                    <a:pt x="2372" y="1597"/>
                  </a:lnTo>
                  <a:lnTo>
                    <a:pt x="2378" y="1608"/>
                  </a:lnTo>
                  <a:lnTo>
                    <a:pt x="2386" y="1619"/>
                  </a:lnTo>
                  <a:lnTo>
                    <a:pt x="2393" y="1629"/>
                  </a:lnTo>
                  <a:lnTo>
                    <a:pt x="2401" y="1638"/>
                  </a:lnTo>
                  <a:lnTo>
                    <a:pt x="2409" y="1647"/>
                  </a:lnTo>
                  <a:lnTo>
                    <a:pt x="2418" y="1656"/>
                  </a:lnTo>
                  <a:lnTo>
                    <a:pt x="2427" y="1664"/>
                  </a:lnTo>
                  <a:lnTo>
                    <a:pt x="2436" y="1670"/>
                  </a:lnTo>
                  <a:lnTo>
                    <a:pt x="2446" y="1677"/>
                  </a:lnTo>
                  <a:lnTo>
                    <a:pt x="2456" y="1684"/>
                  </a:lnTo>
                  <a:lnTo>
                    <a:pt x="2467" y="1689"/>
                  </a:lnTo>
                  <a:lnTo>
                    <a:pt x="2477" y="1695"/>
                  </a:lnTo>
                  <a:lnTo>
                    <a:pt x="2488" y="1699"/>
                  </a:lnTo>
                  <a:lnTo>
                    <a:pt x="2501" y="1703"/>
                  </a:lnTo>
                  <a:lnTo>
                    <a:pt x="2512" y="1706"/>
                  </a:lnTo>
                  <a:lnTo>
                    <a:pt x="2524" y="1709"/>
                  </a:lnTo>
                  <a:lnTo>
                    <a:pt x="2536" y="1712"/>
                  </a:lnTo>
                  <a:lnTo>
                    <a:pt x="2548" y="1714"/>
                  </a:lnTo>
                  <a:lnTo>
                    <a:pt x="2561" y="1715"/>
                  </a:lnTo>
                  <a:lnTo>
                    <a:pt x="2574" y="1716"/>
                  </a:lnTo>
                  <a:lnTo>
                    <a:pt x="2586" y="1716"/>
                  </a:lnTo>
                  <a:lnTo>
                    <a:pt x="2603" y="1716"/>
                  </a:lnTo>
                  <a:lnTo>
                    <a:pt x="2618" y="1715"/>
                  </a:lnTo>
                  <a:lnTo>
                    <a:pt x="2634" y="1713"/>
                  </a:lnTo>
                  <a:lnTo>
                    <a:pt x="2647" y="1709"/>
                  </a:lnTo>
                  <a:lnTo>
                    <a:pt x="2661" y="1706"/>
                  </a:lnTo>
                  <a:lnTo>
                    <a:pt x="2673" y="1702"/>
                  </a:lnTo>
                  <a:lnTo>
                    <a:pt x="2685" y="1697"/>
                  </a:lnTo>
                  <a:lnTo>
                    <a:pt x="2696" y="1692"/>
                  </a:lnTo>
                  <a:lnTo>
                    <a:pt x="2706" y="1686"/>
                  </a:lnTo>
                  <a:lnTo>
                    <a:pt x="2716" y="1679"/>
                  </a:lnTo>
                  <a:lnTo>
                    <a:pt x="2725" y="1673"/>
                  </a:lnTo>
                  <a:lnTo>
                    <a:pt x="2734" y="1666"/>
                  </a:lnTo>
                  <a:lnTo>
                    <a:pt x="2742" y="1658"/>
                  </a:lnTo>
                  <a:lnTo>
                    <a:pt x="2748" y="1652"/>
                  </a:lnTo>
                  <a:lnTo>
                    <a:pt x="2755" y="1644"/>
                  </a:lnTo>
                  <a:lnTo>
                    <a:pt x="2762" y="1636"/>
                  </a:lnTo>
                  <a:lnTo>
                    <a:pt x="2764" y="1636"/>
                  </a:lnTo>
                  <a:lnTo>
                    <a:pt x="2764" y="1670"/>
                  </a:lnTo>
                  <a:lnTo>
                    <a:pt x="2763" y="1687"/>
                  </a:lnTo>
                  <a:lnTo>
                    <a:pt x="2762" y="1703"/>
                  </a:lnTo>
                  <a:lnTo>
                    <a:pt x="2759" y="1716"/>
                  </a:lnTo>
                  <a:lnTo>
                    <a:pt x="2758" y="1723"/>
                  </a:lnTo>
                  <a:lnTo>
                    <a:pt x="2756" y="1728"/>
                  </a:lnTo>
                  <a:lnTo>
                    <a:pt x="2754" y="1734"/>
                  </a:lnTo>
                  <a:lnTo>
                    <a:pt x="2752" y="1739"/>
                  </a:lnTo>
                  <a:lnTo>
                    <a:pt x="2747" y="1749"/>
                  </a:lnTo>
                  <a:lnTo>
                    <a:pt x="2741" y="1758"/>
                  </a:lnTo>
                  <a:lnTo>
                    <a:pt x="2737" y="1763"/>
                  </a:lnTo>
                  <a:lnTo>
                    <a:pt x="2734" y="1766"/>
                  </a:lnTo>
                  <a:lnTo>
                    <a:pt x="2725" y="1773"/>
                  </a:lnTo>
                  <a:lnTo>
                    <a:pt x="2716" y="1778"/>
                  </a:lnTo>
                  <a:lnTo>
                    <a:pt x="2706" y="1783"/>
                  </a:lnTo>
                  <a:lnTo>
                    <a:pt x="2695" y="1786"/>
                  </a:lnTo>
                  <a:lnTo>
                    <a:pt x="2683" y="1789"/>
                  </a:lnTo>
                  <a:lnTo>
                    <a:pt x="2668" y="1790"/>
                  </a:lnTo>
                  <a:lnTo>
                    <a:pt x="2654" y="1792"/>
                  </a:lnTo>
                  <a:lnTo>
                    <a:pt x="2638" y="1792"/>
                  </a:lnTo>
                  <a:lnTo>
                    <a:pt x="2623" y="1792"/>
                  </a:lnTo>
                  <a:lnTo>
                    <a:pt x="2605" y="1790"/>
                  </a:lnTo>
                  <a:lnTo>
                    <a:pt x="2585" y="1789"/>
                  </a:lnTo>
                  <a:lnTo>
                    <a:pt x="2563" y="1787"/>
                  </a:lnTo>
                  <a:lnTo>
                    <a:pt x="2538" y="1783"/>
                  </a:lnTo>
                  <a:lnTo>
                    <a:pt x="2513" y="1778"/>
                  </a:lnTo>
                  <a:lnTo>
                    <a:pt x="2484" y="1773"/>
                  </a:lnTo>
                  <a:lnTo>
                    <a:pt x="2452" y="1766"/>
                  </a:lnTo>
                  <a:lnTo>
                    <a:pt x="2424" y="1928"/>
                  </a:lnTo>
                  <a:lnTo>
                    <a:pt x="2456" y="1934"/>
                  </a:lnTo>
                  <a:lnTo>
                    <a:pt x="2489" y="1939"/>
                  </a:lnTo>
                  <a:lnTo>
                    <a:pt x="2521" y="1944"/>
                  </a:lnTo>
                  <a:lnTo>
                    <a:pt x="2551" y="1948"/>
                  </a:lnTo>
                  <a:lnTo>
                    <a:pt x="2578" y="1950"/>
                  </a:lnTo>
                  <a:lnTo>
                    <a:pt x="2605" y="1953"/>
                  </a:lnTo>
                  <a:lnTo>
                    <a:pt x="2629" y="1954"/>
                  </a:lnTo>
                  <a:lnTo>
                    <a:pt x="2651" y="1954"/>
                  </a:lnTo>
                  <a:close/>
                  <a:moveTo>
                    <a:pt x="2636" y="1566"/>
                  </a:moveTo>
                  <a:lnTo>
                    <a:pt x="2623" y="1565"/>
                  </a:lnTo>
                  <a:lnTo>
                    <a:pt x="2617" y="1565"/>
                  </a:lnTo>
                  <a:lnTo>
                    <a:pt x="2611" y="1564"/>
                  </a:lnTo>
                  <a:lnTo>
                    <a:pt x="2599" y="1560"/>
                  </a:lnTo>
                  <a:lnTo>
                    <a:pt x="2594" y="1559"/>
                  </a:lnTo>
                  <a:lnTo>
                    <a:pt x="2588" y="1557"/>
                  </a:lnTo>
                  <a:lnTo>
                    <a:pt x="2577" y="1552"/>
                  </a:lnTo>
                  <a:lnTo>
                    <a:pt x="2567" y="1546"/>
                  </a:lnTo>
                  <a:lnTo>
                    <a:pt x="2563" y="1543"/>
                  </a:lnTo>
                  <a:lnTo>
                    <a:pt x="2558" y="1539"/>
                  </a:lnTo>
                  <a:lnTo>
                    <a:pt x="2549" y="1532"/>
                  </a:lnTo>
                  <a:lnTo>
                    <a:pt x="2542" y="1524"/>
                  </a:lnTo>
                  <a:lnTo>
                    <a:pt x="2535" y="1514"/>
                  </a:lnTo>
                  <a:lnTo>
                    <a:pt x="2528" y="1504"/>
                  </a:lnTo>
                  <a:lnTo>
                    <a:pt x="2526" y="1498"/>
                  </a:lnTo>
                  <a:lnTo>
                    <a:pt x="2524" y="1493"/>
                  </a:lnTo>
                  <a:lnTo>
                    <a:pt x="2519" y="1482"/>
                  </a:lnTo>
                  <a:lnTo>
                    <a:pt x="2516" y="1468"/>
                  </a:lnTo>
                  <a:lnTo>
                    <a:pt x="2515" y="1462"/>
                  </a:lnTo>
                  <a:lnTo>
                    <a:pt x="2515" y="1455"/>
                  </a:lnTo>
                  <a:lnTo>
                    <a:pt x="2514" y="1442"/>
                  </a:lnTo>
                  <a:lnTo>
                    <a:pt x="2515" y="1427"/>
                  </a:lnTo>
                  <a:lnTo>
                    <a:pt x="2516" y="1415"/>
                  </a:lnTo>
                  <a:lnTo>
                    <a:pt x="2518" y="1408"/>
                  </a:lnTo>
                  <a:lnTo>
                    <a:pt x="2519" y="1402"/>
                  </a:lnTo>
                  <a:lnTo>
                    <a:pt x="2524" y="1391"/>
                  </a:lnTo>
                  <a:lnTo>
                    <a:pt x="2526" y="1385"/>
                  </a:lnTo>
                  <a:lnTo>
                    <a:pt x="2528" y="1379"/>
                  </a:lnTo>
                  <a:lnTo>
                    <a:pt x="2535" y="1369"/>
                  </a:lnTo>
                  <a:lnTo>
                    <a:pt x="2542" y="1359"/>
                  </a:lnTo>
                  <a:lnTo>
                    <a:pt x="2549" y="1351"/>
                  </a:lnTo>
                  <a:lnTo>
                    <a:pt x="2554" y="1347"/>
                  </a:lnTo>
                  <a:lnTo>
                    <a:pt x="2558" y="1344"/>
                  </a:lnTo>
                  <a:lnTo>
                    <a:pt x="2563" y="1341"/>
                  </a:lnTo>
                  <a:lnTo>
                    <a:pt x="2567" y="1337"/>
                  </a:lnTo>
                  <a:lnTo>
                    <a:pt x="2577" y="1331"/>
                  </a:lnTo>
                  <a:lnTo>
                    <a:pt x="2588" y="1326"/>
                  </a:lnTo>
                  <a:lnTo>
                    <a:pt x="2599" y="1323"/>
                  </a:lnTo>
                  <a:lnTo>
                    <a:pt x="2611" y="1319"/>
                  </a:lnTo>
                  <a:lnTo>
                    <a:pt x="2617" y="1318"/>
                  </a:lnTo>
                  <a:lnTo>
                    <a:pt x="2623" y="1318"/>
                  </a:lnTo>
                  <a:lnTo>
                    <a:pt x="2636" y="1317"/>
                  </a:lnTo>
                  <a:lnTo>
                    <a:pt x="2649" y="1318"/>
                  </a:lnTo>
                  <a:lnTo>
                    <a:pt x="2662" y="1319"/>
                  </a:lnTo>
                  <a:lnTo>
                    <a:pt x="2674" y="1323"/>
                  </a:lnTo>
                  <a:lnTo>
                    <a:pt x="2679" y="1324"/>
                  </a:lnTo>
                  <a:lnTo>
                    <a:pt x="2685" y="1326"/>
                  </a:lnTo>
                  <a:lnTo>
                    <a:pt x="2696" y="1331"/>
                  </a:lnTo>
                  <a:lnTo>
                    <a:pt x="2701" y="1334"/>
                  </a:lnTo>
                  <a:lnTo>
                    <a:pt x="2706" y="1337"/>
                  </a:lnTo>
                  <a:lnTo>
                    <a:pt x="2711" y="1341"/>
                  </a:lnTo>
                  <a:lnTo>
                    <a:pt x="2715" y="1344"/>
                  </a:lnTo>
                  <a:lnTo>
                    <a:pt x="2724" y="1351"/>
                  </a:lnTo>
                  <a:lnTo>
                    <a:pt x="2732" y="1359"/>
                  </a:lnTo>
                  <a:lnTo>
                    <a:pt x="2738" y="1369"/>
                  </a:lnTo>
                  <a:lnTo>
                    <a:pt x="2745" y="1379"/>
                  </a:lnTo>
                  <a:lnTo>
                    <a:pt x="2747" y="1385"/>
                  </a:lnTo>
                  <a:lnTo>
                    <a:pt x="2749" y="1391"/>
                  </a:lnTo>
                  <a:lnTo>
                    <a:pt x="2754" y="1402"/>
                  </a:lnTo>
                  <a:lnTo>
                    <a:pt x="2756" y="1415"/>
                  </a:lnTo>
                  <a:lnTo>
                    <a:pt x="2757" y="1421"/>
                  </a:lnTo>
                  <a:lnTo>
                    <a:pt x="2758" y="1427"/>
                  </a:lnTo>
                  <a:lnTo>
                    <a:pt x="2759" y="1442"/>
                  </a:lnTo>
                  <a:lnTo>
                    <a:pt x="2758" y="1455"/>
                  </a:lnTo>
                  <a:lnTo>
                    <a:pt x="2756" y="1468"/>
                  </a:lnTo>
                  <a:lnTo>
                    <a:pt x="2755" y="1475"/>
                  </a:lnTo>
                  <a:lnTo>
                    <a:pt x="2754" y="1482"/>
                  </a:lnTo>
                  <a:lnTo>
                    <a:pt x="2749" y="1493"/>
                  </a:lnTo>
                  <a:lnTo>
                    <a:pt x="2747" y="1498"/>
                  </a:lnTo>
                  <a:lnTo>
                    <a:pt x="2745" y="1504"/>
                  </a:lnTo>
                  <a:lnTo>
                    <a:pt x="2738" y="1514"/>
                  </a:lnTo>
                  <a:lnTo>
                    <a:pt x="2732" y="1524"/>
                  </a:lnTo>
                  <a:lnTo>
                    <a:pt x="2724" y="1532"/>
                  </a:lnTo>
                  <a:lnTo>
                    <a:pt x="2719" y="1536"/>
                  </a:lnTo>
                  <a:lnTo>
                    <a:pt x="2715" y="1539"/>
                  </a:lnTo>
                  <a:lnTo>
                    <a:pt x="2711" y="1543"/>
                  </a:lnTo>
                  <a:lnTo>
                    <a:pt x="2706" y="1546"/>
                  </a:lnTo>
                  <a:lnTo>
                    <a:pt x="2696" y="1552"/>
                  </a:lnTo>
                  <a:lnTo>
                    <a:pt x="2685" y="1557"/>
                  </a:lnTo>
                  <a:lnTo>
                    <a:pt x="2674" y="1560"/>
                  </a:lnTo>
                  <a:lnTo>
                    <a:pt x="2662" y="1564"/>
                  </a:lnTo>
                  <a:lnTo>
                    <a:pt x="2649" y="1565"/>
                  </a:lnTo>
                  <a:lnTo>
                    <a:pt x="2636" y="1566"/>
                  </a:lnTo>
                  <a:close/>
                  <a:moveTo>
                    <a:pt x="3254" y="1160"/>
                  </a:moveTo>
                  <a:lnTo>
                    <a:pt x="3239" y="1161"/>
                  </a:lnTo>
                  <a:lnTo>
                    <a:pt x="3224" y="1162"/>
                  </a:lnTo>
                  <a:lnTo>
                    <a:pt x="3209" y="1163"/>
                  </a:lnTo>
                  <a:lnTo>
                    <a:pt x="3195" y="1165"/>
                  </a:lnTo>
                  <a:lnTo>
                    <a:pt x="3181" y="1167"/>
                  </a:lnTo>
                  <a:lnTo>
                    <a:pt x="3167" y="1171"/>
                  </a:lnTo>
                  <a:lnTo>
                    <a:pt x="3154" y="1175"/>
                  </a:lnTo>
                  <a:lnTo>
                    <a:pt x="3141" y="1179"/>
                  </a:lnTo>
                  <a:lnTo>
                    <a:pt x="3129" y="1184"/>
                  </a:lnTo>
                  <a:lnTo>
                    <a:pt x="3117" y="1189"/>
                  </a:lnTo>
                  <a:lnTo>
                    <a:pt x="3105" y="1196"/>
                  </a:lnTo>
                  <a:lnTo>
                    <a:pt x="3094" y="1203"/>
                  </a:lnTo>
                  <a:lnTo>
                    <a:pt x="3083" y="1209"/>
                  </a:lnTo>
                  <a:lnTo>
                    <a:pt x="3073" y="1217"/>
                  </a:lnTo>
                  <a:lnTo>
                    <a:pt x="3063" y="1226"/>
                  </a:lnTo>
                  <a:lnTo>
                    <a:pt x="3053" y="1235"/>
                  </a:lnTo>
                  <a:lnTo>
                    <a:pt x="3044" y="1244"/>
                  </a:lnTo>
                  <a:lnTo>
                    <a:pt x="3035" y="1254"/>
                  </a:lnTo>
                  <a:lnTo>
                    <a:pt x="3027" y="1264"/>
                  </a:lnTo>
                  <a:lnTo>
                    <a:pt x="3019" y="1275"/>
                  </a:lnTo>
                  <a:lnTo>
                    <a:pt x="3013" y="1287"/>
                  </a:lnTo>
                  <a:lnTo>
                    <a:pt x="3006" y="1298"/>
                  </a:lnTo>
                  <a:lnTo>
                    <a:pt x="3003" y="1305"/>
                  </a:lnTo>
                  <a:lnTo>
                    <a:pt x="2999" y="1311"/>
                  </a:lnTo>
                  <a:lnTo>
                    <a:pt x="2995" y="1324"/>
                  </a:lnTo>
                  <a:lnTo>
                    <a:pt x="2989" y="1337"/>
                  </a:lnTo>
                  <a:lnTo>
                    <a:pt x="2986" y="1352"/>
                  </a:lnTo>
                  <a:lnTo>
                    <a:pt x="2982" y="1365"/>
                  </a:lnTo>
                  <a:lnTo>
                    <a:pt x="2979" y="1381"/>
                  </a:lnTo>
                  <a:lnTo>
                    <a:pt x="2977" y="1395"/>
                  </a:lnTo>
                  <a:lnTo>
                    <a:pt x="2975" y="1412"/>
                  </a:lnTo>
                  <a:lnTo>
                    <a:pt x="2974" y="1427"/>
                  </a:lnTo>
                  <a:lnTo>
                    <a:pt x="2974" y="1444"/>
                  </a:lnTo>
                  <a:lnTo>
                    <a:pt x="2974" y="1459"/>
                  </a:lnTo>
                  <a:lnTo>
                    <a:pt x="2975" y="1475"/>
                  </a:lnTo>
                  <a:lnTo>
                    <a:pt x="2977" y="1489"/>
                  </a:lnTo>
                  <a:lnTo>
                    <a:pt x="2979" y="1505"/>
                  </a:lnTo>
                  <a:lnTo>
                    <a:pt x="2982" y="1518"/>
                  </a:lnTo>
                  <a:lnTo>
                    <a:pt x="2986" y="1533"/>
                  </a:lnTo>
                  <a:lnTo>
                    <a:pt x="2990" y="1546"/>
                  </a:lnTo>
                  <a:lnTo>
                    <a:pt x="2993" y="1553"/>
                  </a:lnTo>
                  <a:lnTo>
                    <a:pt x="2995" y="1559"/>
                  </a:lnTo>
                  <a:lnTo>
                    <a:pt x="3000" y="1572"/>
                  </a:lnTo>
                  <a:lnTo>
                    <a:pt x="3006" y="1584"/>
                  </a:lnTo>
                  <a:lnTo>
                    <a:pt x="3013" y="1596"/>
                  </a:lnTo>
                  <a:lnTo>
                    <a:pt x="3020" y="1607"/>
                  </a:lnTo>
                  <a:lnTo>
                    <a:pt x="3028" y="1617"/>
                  </a:lnTo>
                  <a:lnTo>
                    <a:pt x="3037" y="1628"/>
                  </a:lnTo>
                  <a:lnTo>
                    <a:pt x="3046" y="1638"/>
                  </a:lnTo>
                  <a:lnTo>
                    <a:pt x="3055" y="1647"/>
                  </a:lnTo>
                  <a:lnTo>
                    <a:pt x="3065" y="1656"/>
                  </a:lnTo>
                  <a:lnTo>
                    <a:pt x="3076" y="1665"/>
                  </a:lnTo>
                  <a:lnTo>
                    <a:pt x="3086" y="1673"/>
                  </a:lnTo>
                  <a:lnTo>
                    <a:pt x="3098" y="1680"/>
                  </a:lnTo>
                  <a:lnTo>
                    <a:pt x="3110" y="1687"/>
                  </a:lnTo>
                  <a:lnTo>
                    <a:pt x="3123" y="1693"/>
                  </a:lnTo>
                  <a:lnTo>
                    <a:pt x="3135" y="1699"/>
                  </a:lnTo>
                  <a:lnTo>
                    <a:pt x="3148" y="1704"/>
                  </a:lnTo>
                  <a:lnTo>
                    <a:pt x="3163" y="1709"/>
                  </a:lnTo>
                  <a:lnTo>
                    <a:pt x="3177" y="1713"/>
                  </a:lnTo>
                  <a:lnTo>
                    <a:pt x="3191" y="1716"/>
                  </a:lnTo>
                  <a:lnTo>
                    <a:pt x="3206" y="1719"/>
                  </a:lnTo>
                  <a:lnTo>
                    <a:pt x="3221" y="1722"/>
                  </a:lnTo>
                  <a:lnTo>
                    <a:pt x="3237" y="1723"/>
                  </a:lnTo>
                  <a:lnTo>
                    <a:pt x="3254" y="1724"/>
                  </a:lnTo>
                  <a:lnTo>
                    <a:pt x="3270" y="1724"/>
                  </a:lnTo>
                  <a:lnTo>
                    <a:pt x="3287" y="1724"/>
                  </a:lnTo>
                  <a:lnTo>
                    <a:pt x="3304" y="1723"/>
                  </a:lnTo>
                  <a:lnTo>
                    <a:pt x="3319" y="1722"/>
                  </a:lnTo>
                  <a:lnTo>
                    <a:pt x="3335" y="1719"/>
                  </a:lnTo>
                  <a:lnTo>
                    <a:pt x="3350" y="1717"/>
                  </a:lnTo>
                  <a:lnTo>
                    <a:pt x="3365" y="1714"/>
                  </a:lnTo>
                  <a:lnTo>
                    <a:pt x="3379" y="1710"/>
                  </a:lnTo>
                  <a:lnTo>
                    <a:pt x="3393" y="1706"/>
                  </a:lnTo>
                  <a:lnTo>
                    <a:pt x="3406" y="1702"/>
                  </a:lnTo>
                  <a:lnTo>
                    <a:pt x="3419" y="1697"/>
                  </a:lnTo>
                  <a:lnTo>
                    <a:pt x="3445" y="1686"/>
                  </a:lnTo>
                  <a:lnTo>
                    <a:pt x="3456" y="1680"/>
                  </a:lnTo>
                  <a:lnTo>
                    <a:pt x="3468" y="1675"/>
                  </a:lnTo>
                  <a:lnTo>
                    <a:pt x="3489" y="1663"/>
                  </a:lnTo>
                  <a:lnTo>
                    <a:pt x="3426" y="1532"/>
                  </a:lnTo>
                  <a:lnTo>
                    <a:pt x="3413" y="1539"/>
                  </a:lnTo>
                  <a:lnTo>
                    <a:pt x="3397" y="1548"/>
                  </a:lnTo>
                  <a:lnTo>
                    <a:pt x="3380" y="1556"/>
                  </a:lnTo>
                  <a:lnTo>
                    <a:pt x="3361" y="1564"/>
                  </a:lnTo>
                  <a:lnTo>
                    <a:pt x="3340" y="1570"/>
                  </a:lnTo>
                  <a:lnTo>
                    <a:pt x="3330" y="1573"/>
                  </a:lnTo>
                  <a:lnTo>
                    <a:pt x="3319" y="1575"/>
                  </a:lnTo>
                  <a:lnTo>
                    <a:pt x="3308" y="1577"/>
                  </a:lnTo>
                  <a:lnTo>
                    <a:pt x="3296" y="1578"/>
                  </a:lnTo>
                  <a:lnTo>
                    <a:pt x="3285" y="1579"/>
                  </a:lnTo>
                  <a:lnTo>
                    <a:pt x="3273" y="1579"/>
                  </a:lnTo>
                  <a:lnTo>
                    <a:pt x="3259" y="1579"/>
                  </a:lnTo>
                  <a:lnTo>
                    <a:pt x="3247" y="1578"/>
                  </a:lnTo>
                  <a:lnTo>
                    <a:pt x="3235" y="1576"/>
                  </a:lnTo>
                  <a:lnTo>
                    <a:pt x="3223" y="1574"/>
                  </a:lnTo>
                  <a:lnTo>
                    <a:pt x="3217" y="1573"/>
                  </a:lnTo>
                  <a:lnTo>
                    <a:pt x="3211" y="1570"/>
                  </a:lnTo>
                  <a:lnTo>
                    <a:pt x="3201" y="1566"/>
                  </a:lnTo>
                  <a:lnTo>
                    <a:pt x="3191" y="1562"/>
                  </a:lnTo>
                  <a:lnTo>
                    <a:pt x="3183" y="1556"/>
                  </a:lnTo>
                  <a:lnTo>
                    <a:pt x="3174" y="1549"/>
                  </a:lnTo>
                  <a:lnTo>
                    <a:pt x="3166" y="1543"/>
                  </a:lnTo>
                  <a:lnTo>
                    <a:pt x="3159" y="1535"/>
                  </a:lnTo>
                  <a:lnTo>
                    <a:pt x="3153" y="1526"/>
                  </a:lnTo>
                  <a:lnTo>
                    <a:pt x="3147" y="1516"/>
                  </a:lnTo>
                  <a:lnTo>
                    <a:pt x="3143" y="1506"/>
                  </a:lnTo>
                  <a:lnTo>
                    <a:pt x="3139" y="1495"/>
                  </a:lnTo>
                  <a:lnTo>
                    <a:pt x="3138" y="1489"/>
                  </a:lnTo>
                  <a:lnTo>
                    <a:pt x="3137" y="1483"/>
                  </a:lnTo>
                  <a:lnTo>
                    <a:pt x="3517" y="1483"/>
                  </a:lnTo>
                  <a:lnTo>
                    <a:pt x="3517" y="1444"/>
                  </a:lnTo>
                  <a:lnTo>
                    <a:pt x="3517" y="1426"/>
                  </a:lnTo>
                  <a:lnTo>
                    <a:pt x="3516" y="1409"/>
                  </a:lnTo>
                  <a:lnTo>
                    <a:pt x="3515" y="1393"/>
                  </a:lnTo>
                  <a:lnTo>
                    <a:pt x="3512" y="1376"/>
                  </a:lnTo>
                  <a:lnTo>
                    <a:pt x="3509" y="1362"/>
                  </a:lnTo>
                  <a:lnTo>
                    <a:pt x="3508" y="1354"/>
                  </a:lnTo>
                  <a:lnTo>
                    <a:pt x="3507" y="1346"/>
                  </a:lnTo>
                  <a:lnTo>
                    <a:pt x="3502" y="1332"/>
                  </a:lnTo>
                  <a:lnTo>
                    <a:pt x="3498" y="1318"/>
                  </a:lnTo>
                  <a:lnTo>
                    <a:pt x="3494" y="1305"/>
                  </a:lnTo>
                  <a:lnTo>
                    <a:pt x="3488" y="1293"/>
                  </a:lnTo>
                  <a:lnTo>
                    <a:pt x="3483" y="1281"/>
                  </a:lnTo>
                  <a:lnTo>
                    <a:pt x="3476" y="1269"/>
                  </a:lnTo>
                  <a:lnTo>
                    <a:pt x="3469" y="1259"/>
                  </a:lnTo>
                  <a:lnTo>
                    <a:pt x="3461" y="1248"/>
                  </a:lnTo>
                  <a:lnTo>
                    <a:pt x="3454" y="1239"/>
                  </a:lnTo>
                  <a:lnTo>
                    <a:pt x="3446" y="1229"/>
                  </a:lnTo>
                  <a:lnTo>
                    <a:pt x="3437" y="1222"/>
                  </a:lnTo>
                  <a:lnTo>
                    <a:pt x="3427" y="1214"/>
                  </a:lnTo>
                  <a:lnTo>
                    <a:pt x="3418" y="1206"/>
                  </a:lnTo>
                  <a:lnTo>
                    <a:pt x="3407" y="1199"/>
                  </a:lnTo>
                  <a:lnTo>
                    <a:pt x="3397" y="1193"/>
                  </a:lnTo>
                  <a:lnTo>
                    <a:pt x="3386" y="1187"/>
                  </a:lnTo>
                  <a:lnTo>
                    <a:pt x="3375" y="1182"/>
                  </a:lnTo>
                  <a:lnTo>
                    <a:pt x="3363" y="1177"/>
                  </a:lnTo>
                  <a:lnTo>
                    <a:pt x="3350" y="1173"/>
                  </a:lnTo>
                  <a:lnTo>
                    <a:pt x="3337" y="1169"/>
                  </a:lnTo>
                  <a:lnTo>
                    <a:pt x="3325" y="1167"/>
                  </a:lnTo>
                  <a:lnTo>
                    <a:pt x="3311" y="1164"/>
                  </a:lnTo>
                  <a:lnTo>
                    <a:pt x="3297" y="1163"/>
                  </a:lnTo>
                  <a:lnTo>
                    <a:pt x="3284" y="1161"/>
                  </a:lnTo>
                  <a:lnTo>
                    <a:pt x="3269" y="1161"/>
                  </a:lnTo>
                  <a:lnTo>
                    <a:pt x="3254" y="1160"/>
                  </a:lnTo>
                  <a:close/>
                  <a:moveTo>
                    <a:pt x="3248" y="1283"/>
                  </a:moveTo>
                  <a:lnTo>
                    <a:pt x="3258" y="1284"/>
                  </a:lnTo>
                  <a:lnTo>
                    <a:pt x="3268" y="1285"/>
                  </a:lnTo>
                  <a:lnTo>
                    <a:pt x="3278" y="1287"/>
                  </a:lnTo>
                  <a:lnTo>
                    <a:pt x="3287" y="1289"/>
                  </a:lnTo>
                  <a:lnTo>
                    <a:pt x="3296" y="1293"/>
                  </a:lnTo>
                  <a:lnTo>
                    <a:pt x="3305" y="1297"/>
                  </a:lnTo>
                  <a:lnTo>
                    <a:pt x="3311" y="1303"/>
                  </a:lnTo>
                  <a:lnTo>
                    <a:pt x="3319" y="1308"/>
                  </a:lnTo>
                  <a:lnTo>
                    <a:pt x="3323" y="1312"/>
                  </a:lnTo>
                  <a:lnTo>
                    <a:pt x="3326" y="1315"/>
                  </a:lnTo>
                  <a:lnTo>
                    <a:pt x="3331" y="1323"/>
                  </a:lnTo>
                  <a:lnTo>
                    <a:pt x="3336" y="1331"/>
                  </a:lnTo>
                  <a:lnTo>
                    <a:pt x="3340" y="1339"/>
                  </a:lnTo>
                  <a:lnTo>
                    <a:pt x="3344" y="1348"/>
                  </a:lnTo>
                  <a:lnTo>
                    <a:pt x="3347" y="1358"/>
                  </a:lnTo>
                  <a:lnTo>
                    <a:pt x="3348" y="1364"/>
                  </a:lnTo>
                  <a:lnTo>
                    <a:pt x="3348" y="1369"/>
                  </a:lnTo>
                  <a:lnTo>
                    <a:pt x="3349" y="1375"/>
                  </a:lnTo>
                  <a:lnTo>
                    <a:pt x="3349" y="1381"/>
                  </a:lnTo>
                  <a:lnTo>
                    <a:pt x="3138" y="1381"/>
                  </a:lnTo>
                  <a:lnTo>
                    <a:pt x="3139" y="1368"/>
                  </a:lnTo>
                  <a:lnTo>
                    <a:pt x="3143" y="1357"/>
                  </a:lnTo>
                  <a:lnTo>
                    <a:pt x="3146" y="1346"/>
                  </a:lnTo>
                  <a:lnTo>
                    <a:pt x="3150" y="1336"/>
                  </a:lnTo>
                  <a:lnTo>
                    <a:pt x="3153" y="1332"/>
                  </a:lnTo>
                  <a:lnTo>
                    <a:pt x="3155" y="1327"/>
                  </a:lnTo>
                  <a:lnTo>
                    <a:pt x="3160" y="1319"/>
                  </a:lnTo>
                  <a:lnTo>
                    <a:pt x="3167" y="1313"/>
                  </a:lnTo>
                  <a:lnTo>
                    <a:pt x="3174" y="1306"/>
                  </a:lnTo>
                  <a:lnTo>
                    <a:pt x="3181" y="1301"/>
                  </a:lnTo>
                  <a:lnTo>
                    <a:pt x="3189" y="1296"/>
                  </a:lnTo>
                  <a:lnTo>
                    <a:pt x="3198" y="1292"/>
                  </a:lnTo>
                  <a:lnTo>
                    <a:pt x="3207" y="1288"/>
                  </a:lnTo>
                  <a:lnTo>
                    <a:pt x="3217" y="1286"/>
                  </a:lnTo>
                  <a:lnTo>
                    <a:pt x="3227" y="1284"/>
                  </a:lnTo>
                  <a:lnTo>
                    <a:pt x="3237" y="1283"/>
                  </a:lnTo>
                  <a:lnTo>
                    <a:pt x="3248" y="1283"/>
                  </a:lnTo>
                  <a:close/>
                  <a:moveTo>
                    <a:pt x="292" y="601"/>
                  </a:moveTo>
                  <a:lnTo>
                    <a:pt x="292" y="614"/>
                  </a:lnTo>
                  <a:lnTo>
                    <a:pt x="292" y="626"/>
                  </a:lnTo>
                  <a:lnTo>
                    <a:pt x="290" y="651"/>
                  </a:lnTo>
                  <a:lnTo>
                    <a:pt x="288" y="662"/>
                  </a:lnTo>
                  <a:lnTo>
                    <a:pt x="286" y="672"/>
                  </a:lnTo>
                  <a:lnTo>
                    <a:pt x="283" y="683"/>
                  </a:lnTo>
                  <a:lnTo>
                    <a:pt x="280" y="693"/>
                  </a:lnTo>
                  <a:lnTo>
                    <a:pt x="277" y="702"/>
                  </a:lnTo>
                  <a:lnTo>
                    <a:pt x="273" y="712"/>
                  </a:lnTo>
                  <a:lnTo>
                    <a:pt x="269" y="721"/>
                  </a:lnTo>
                  <a:lnTo>
                    <a:pt x="265" y="729"/>
                  </a:lnTo>
                  <a:lnTo>
                    <a:pt x="259" y="736"/>
                  </a:lnTo>
                  <a:lnTo>
                    <a:pt x="253" y="744"/>
                  </a:lnTo>
                  <a:lnTo>
                    <a:pt x="248" y="751"/>
                  </a:lnTo>
                  <a:lnTo>
                    <a:pt x="242" y="757"/>
                  </a:lnTo>
                  <a:lnTo>
                    <a:pt x="236" y="763"/>
                  </a:lnTo>
                  <a:lnTo>
                    <a:pt x="228" y="770"/>
                  </a:lnTo>
                  <a:lnTo>
                    <a:pt x="221" y="774"/>
                  </a:lnTo>
                  <a:lnTo>
                    <a:pt x="213" y="780"/>
                  </a:lnTo>
                  <a:lnTo>
                    <a:pt x="205" y="784"/>
                  </a:lnTo>
                  <a:lnTo>
                    <a:pt x="196" y="789"/>
                  </a:lnTo>
                  <a:lnTo>
                    <a:pt x="187" y="792"/>
                  </a:lnTo>
                  <a:lnTo>
                    <a:pt x="178" y="795"/>
                  </a:lnTo>
                  <a:lnTo>
                    <a:pt x="168" y="797"/>
                  </a:lnTo>
                  <a:lnTo>
                    <a:pt x="157" y="801"/>
                  </a:lnTo>
                  <a:lnTo>
                    <a:pt x="147" y="803"/>
                  </a:lnTo>
                  <a:lnTo>
                    <a:pt x="136" y="804"/>
                  </a:lnTo>
                  <a:lnTo>
                    <a:pt x="123" y="805"/>
                  </a:lnTo>
                  <a:lnTo>
                    <a:pt x="111" y="806"/>
                  </a:lnTo>
                  <a:lnTo>
                    <a:pt x="99" y="807"/>
                  </a:lnTo>
                  <a:lnTo>
                    <a:pt x="86" y="807"/>
                  </a:lnTo>
                  <a:lnTo>
                    <a:pt x="29" y="807"/>
                  </a:lnTo>
                  <a:lnTo>
                    <a:pt x="29" y="641"/>
                  </a:lnTo>
                  <a:lnTo>
                    <a:pt x="68" y="641"/>
                  </a:lnTo>
                  <a:lnTo>
                    <a:pt x="78" y="640"/>
                  </a:lnTo>
                  <a:lnTo>
                    <a:pt x="82" y="639"/>
                  </a:lnTo>
                  <a:lnTo>
                    <a:pt x="87" y="637"/>
                  </a:lnTo>
                  <a:lnTo>
                    <a:pt x="91" y="635"/>
                  </a:lnTo>
                  <a:lnTo>
                    <a:pt x="96" y="633"/>
                  </a:lnTo>
                  <a:lnTo>
                    <a:pt x="99" y="630"/>
                  </a:lnTo>
                  <a:lnTo>
                    <a:pt x="102" y="626"/>
                  </a:lnTo>
                  <a:lnTo>
                    <a:pt x="108" y="619"/>
                  </a:lnTo>
                  <a:lnTo>
                    <a:pt x="110" y="614"/>
                  </a:lnTo>
                  <a:lnTo>
                    <a:pt x="111" y="610"/>
                  </a:lnTo>
                  <a:lnTo>
                    <a:pt x="112" y="604"/>
                  </a:lnTo>
                  <a:lnTo>
                    <a:pt x="113" y="597"/>
                  </a:lnTo>
                  <a:lnTo>
                    <a:pt x="115" y="591"/>
                  </a:lnTo>
                  <a:lnTo>
                    <a:pt x="115" y="584"/>
                  </a:lnTo>
                  <a:lnTo>
                    <a:pt x="115" y="0"/>
                  </a:lnTo>
                  <a:lnTo>
                    <a:pt x="292" y="0"/>
                  </a:lnTo>
                  <a:lnTo>
                    <a:pt x="292" y="601"/>
                  </a:lnTo>
                  <a:close/>
                  <a:moveTo>
                    <a:pt x="929" y="539"/>
                  </a:moveTo>
                  <a:lnTo>
                    <a:pt x="929" y="554"/>
                  </a:lnTo>
                  <a:lnTo>
                    <a:pt x="928" y="570"/>
                  </a:lnTo>
                  <a:lnTo>
                    <a:pt x="925" y="584"/>
                  </a:lnTo>
                  <a:lnTo>
                    <a:pt x="923" y="600"/>
                  </a:lnTo>
                  <a:lnTo>
                    <a:pt x="920" y="614"/>
                  </a:lnTo>
                  <a:lnTo>
                    <a:pt x="917" y="627"/>
                  </a:lnTo>
                  <a:lnTo>
                    <a:pt x="912" y="641"/>
                  </a:lnTo>
                  <a:lnTo>
                    <a:pt x="907" y="654"/>
                  </a:lnTo>
                  <a:lnTo>
                    <a:pt x="901" y="667"/>
                  </a:lnTo>
                  <a:lnTo>
                    <a:pt x="894" y="680"/>
                  </a:lnTo>
                  <a:lnTo>
                    <a:pt x="888" y="691"/>
                  </a:lnTo>
                  <a:lnTo>
                    <a:pt x="880" y="703"/>
                  </a:lnTo>
                  <a:lnTo>
                    <a:pt x="872" y="713"/>
                  </a:lnTo>
                  <a:lnTo>
                    <a:pt x="863" y="724"/>
                  </a:lnTo>
                  <a:lnTo>
                    <a:pt x="854" y="734"/>
                  </a:lnTo>
                  <a:lnTo>
                    <a:pt x="844" y="743"/>
                  </a:lnTo>
                  <a:lnTo>
                    <a:pt x="834" y="753"/>
                  </a:lnTo>
                  <a:lnTo>
                    <a:pt x="823" y="761"/>
                  </a:lnTo>
                  <a:lnTo>
                    <a:pt x="812" y="769"/>
                  </a:lnTo>
                  <a:lnTo>
                    <a:pt x="800" y="776"/>
                  </a:lnTo>
                  <a:lnTo>
                    <a:pt x="789" y="783"/>
                  </a:lnTo>
                  <a:lnTo>
                    <a:pt x="776" y="790"/>
                  </a:lnTo>
                  <a:lnTo>
                    <a:pt x="763" y="795"/>
                  </a:lnTo>
                  <a:lnTo>
                    <a:pt x="750" y="801"/>
                  </a:lnTo>
                  <a:lnTo>
                    <a:pt x="736" y="805"/>
                  </a:lnTo>
                  <a:lnTo>
                    <a:pt x="722" y="810"/>
                  </a:lnTo>
                  <a:lnTo>
                    <a:pt x="708" y="813"/>
                  </a:lnTo>
                  <a:lnTo>
                    <a:pt x="692" y="816"/>
                  </a:lnTo>
                  <a:lnTo>
                    <a:pt x="678" y="819"/>
                  </a:lnTo>
                  <a:lnTo>
                    <a:pt x="662" y="820"/>
                  </a:lnTo>
                  <a:lnTo>
                    <a:pt x="647" y="821"/>
                  </a:lnTo>
                  <a:lnTo>
                    <a:pt x="630" y="821"/>
                  </a:lnTo>
                  <a:lnTo>
                    <a:pt x="614" y="821"/>
                  </a:lnTo>
                  <a:lnTo>
                    <a:pt x="599" y="820"/>
                  </a:lnTo>
                  <a:lnTo>
                    <a:pt x="583" y="819"/>
                  </a:lnTo>
                  <a:lnTo>
                    <a:pt x="568" y="816"/>
                  </a:lnTo>
                  <a:lnTo>
                    <a:pt x="553" y="813"/>
                  </a:lnTo>
                  <a:lnTo>
                    <a:pt x="539" y="810"/>
                  </a:lnTo>
                  <a:lnTo>
                    <a:pt x="526" y="805"/>
                  </a:lnTo>
                  <a:lnTo>
                    <a:pt x="511" y="801"/>
                  </a:lnTo>
                  <a:lnTo>
                    <a:pt x="498" y="795"/>
                  </a:lnTo>
                  <a:lnTo>
                    <a:pt x="486" y="790"/>
                  </a:lnTo>
                  <a:lnTo>
                    <a:pt x="473" y="783"/>
                  </a:lnTo>
                  <a:lnTo>
                    <a:pt x="461" y="776"/>
                  </a:lnTo>
                  <a:lnTo>
                    <a:pt x="449" y="769"/>
                  </a:lnTo>
                  <a:lnTo>
                    <a:pt x="438" y="761"/>
                  </a:lnTo>
                  <a:lnTo>
                    <a:pt x="428" y="753"/>
                  </a:lnTo>
                  <a:lnTo>
                    <a:pt x="417" y="743"/>
                  </a:lnTo>
                  <a:lnTo>
                    <a:pt x="408" y="734"/>
                  </a:lnTo>
                  <a:lnTo>
                    <a:pt x="398" y="724"/>
                  </a:lnTo>
                  <a:lnTo>
                    <a:pt x="390" y="713"/>
                  </a:lnTo>
                  <a:lnTo>
                    <a:pt x="381" y="703"/>
                  </a:lnTo>
                  <a:lnTo>
                    <a:pt x="375" y="691"/>
                  </a:lnTo>
                  <a:lnTo>
                    <a:pt x="367" y="680"/>
                  </a:lnTo>
                  <a:lnTo>
                    <a:pt x="361" y="667"/>
                  </a:lnTo>
                  <a:lnTo>
                    <a:pt x="355" y="654"/>
                  </a:lnTo>
                  <a:lnTo>
                    <a:pt x="350" y="641"/>
                  </a:lnTo>
                  <a:lnTo>
                    <a:pt x="346" y="627"/>
                  </a:lnTo>
                  <a:lnTo>
                    <a:pt x="341" y="614"/>
                  </a:lnTo>
                  <a:lnTo>
                    <a:pt x="338" y="600"/>
                  </a:lnTo>
                  <a:lnTo>
                    <a:pt x="336" y="584"/>
                  </a:lnTo>
                  <a:lnTo>
                    <a:pt x="335" y="570"/>
                  </a:lnTo>
                  <a:lnTo>
                    <a:pt x="333" y="554"/>
                  </a:lnTo>
                  <a:lnTo>
                    <a:pt x="332" y="539"/>
                  </a:lnTo>
                  <a:lnTo>
                    <a:pt x="333" y="523"/>
                  </a:lnTo>
                  <a:lnTo>
                    <a:pt x="335" y="508"/>
                  </a:lnTo>
                  <a:lnTo>
                    <a:pt x="336" y="492"/>
                  </a:lnTo>
                  <a:lnTo>
                    <a:pt x="338" y="478"/>
                  </a:lnTo>
                  <a:lnTo>
                    <a:pt x="341" y="463"/>
                  </a:lnTo>
                  <a:lnTo>
                    <a:pt x="346" y="449"/>
                  </a:lnTo>
                  <a:lnTo>
                    <a:pt x="350" y="435"/>
                  </a:lnTo>
                  <a:lnTo>
                    <a:pt x="355" y="422"/>
                  </a:lnTo>
                  <a:lnTo>
                    <a:pt x="361" y="410"/>
                  </a:lnTo>
                  <a:lnTo>
                    <a:pt x="367" y="398"/>
                  </a:lnTo>
                  <a:lnTo>
                    <a:pt x="375" y="385"/>
                  </a:lnTo>
                  <a:lnTo>
                    <a:pt x="381" y="374"/>
                  </a:lnTo>
                  <a:lnTo>
                    <a:pt x="390" y="363"/>
                  </a:lnTo>
                  <a:lnTo>
                    <a:pt x="398" y="353"/>
                  </a:lnTo>
                  <a:lnTo>
                    <a:pt x="408" y="343"/>
                  </a:lnTo>
                  <a:lnTo>
                    <a:pt x="417" y="333"/>
                  </a:lnTo>
                  <a:lnTo>
                    <a:pt x="428" y="324"/>
                  </a:lnTo>
                  <a:lnTo>
                    <a:pt x="438" y="315"/>
                  </a:lnTo>
                  <a:lnTo>
                    <a:pt x="449" y="308"/>
                  </a:lnTo>
                  <a:lnTo>
                    <a:pt x="461" y="300"/>
                  </a:lnTo>
                  <a:lnTo>
                    <a:pt x="473" y="293"/>
                  </a:lnTo>
                  <a:lnTo>
                    <a:pt x="486" y="288"/>
                  </a:lnTo>
                  <a:lnTo>
                    <a:pt x="498" y="281"/>
                  </a:lnTo>
                  <a:lnTo>
                    <a:pt x="511" y="276"/>
                  </a:lnTo>
                  <a:lnTo>
                    <a:pt x="526" y="271"/>
                  </a:lnTo>
                  <a:lnTo>
                    <a:pt x="539" y="268"/>
                  </a:lnTo>
                  <a:lnTo>
                    <a:pt x="553" y="264"/>
                  </a:lnTo>
                  <a:lnTo>
                    <a:pt x="568" y="261"/>
                  </a:lnTo>
                  <a:lnTo>
                    <a:pt x="583" y="259"/>
                  </a:lnTo>
                  <a:lnTo>
                    <a:pt x="599" y="258"/>
                  </a:lnTo>
                  <a:lnTo>
                    <a:pt x="614" y="256"/>
                  </a:lnTo>
                  <a:lnTo>
                    <a:pt x="630" y="255"/>
                  </a:lnTo>
                  <a:lnTo>
                    <a:pt x="647" y="256"/>
                  </a:lnTo>
                  <a:lnTo>
                    <a:pt x="662" y="258"/>
                  </a:lnTo>
                  <a:lnTo>
                    <a:pt x="678" y="259"/>
                  </a:lnTo>
                  <a:lnTo>
                    <a:pt x="692" y="261"/>
                  </a:lnTo>
                  <a:lnTo>
                    <a:pt x="708" y="264"/>
                  </a:lnTo>
                  <a:lnTo>
                    <a:pt x="722" y="268"/>
                  </a:lnTo>
                  <a:lnTo>
                    <a:pt x="736" y="271"/>
                  </a:lnTo>
                  <a:lnTo>
                    <a:pt x="750" y="276"/>
                  </a:lnTo>
                  <a:lnTo>
                    <a:pt x="763" y="281"/>
                  </a:lnTo>
                  <a:lnTo>
                    <a:pt x="776" y="288"/>
                  </a:lnTo>
                  <a:lnTo>
                    <a:pt x="789" y="293"/>
                  </a:lnTo>
                  <a:lnTo>
                    <a:pt x="800" y="300"/>
                  </a:lnTo>
                  <a:lnTo>
                    <a:pt x="812" y="308"/>
                  </a:lnTo>
                  <a:lnTo>
                    <a:pt x="823" y="315"/>
                  </a:lnTo>
                  <a:lnTo>
                    <a:pt x="834" y="324"/>
                  </a:lnTo>
                  <a:lnTo>
                    <a:pt x="844" y="333"/>
                  </a:lnTo>
                  <a:lnTo>
                    <a:pt x="854" y="343"/>
                  </a:lnTo>
                  <a:lnTo>
                    <a:pt x="863" y="353"/>
                  </a:lnTo>
                  <a:lnTo>
                    <a:pt x="872" y="363"/>
                  </a:lnTo>
                  <a:lnTo>
                    <a:pt x="880" y="374"/>
                  </a:lnTo>
                  <a:lnTo>
                    <a:pt x="888" y="385"/>
                  </a:lnTo>
                  <a:lnTo>
                    <a:pt x="894" y="398"/>
                  </a:lnTo>
                  <a:lnTo>
                    <a:pt x="901" y="410"/>
                  </a:lnTo>
                  <a:lnTo>
                    <a:pt x="907" y="422"/>
                  </a:lnTo>
                  <a:lnTo>
                    <a:pt x="912" y="435"/>
                  </a:lnTo>
                  <a:lnTo>
                    <a:pt x="917" y="449"/>
                  </a:lnTo>
                  <a:lnTo>
                    <a:pt x="920" y="463"/>
                  </a:lnTo>
                  <a:lnTo>
                    <a:pt x="923" y="478"/>
                  </a:lnTo>
                  <a:lnTo>
                    <a:pt x="925" y="492"/>
                  </a:lnTo>
                  <a:lnTo>
                    <a:pt x="928" y="508"/>
                  </a:lnTo>
                  <a:lnTo>
                    <a:pt x="929" y="523"/>
                  </a:lnTo>
                  <a:lnTo>
                    <a:pt x="929" y="539"/>
                  </a:lnTo>
                  <a:close/>
                  <a:moveTo>
                    <a:pt x="506" y="539"/>
                  </a:moveTo>
                  <a:lnTo>
                    <a:pt x="507" y="552"/>
                  </a:lnTo>
                  <a:lnTo>
                    <a:pt x="509" y="565"/>
                  </a:lnTo>
                  <a:lnTo>
                    <a:pt x="511" y="577"/>
                  </a:lnTo>
                  <a:lnTo>
                    <a:pt x="513" y="584"/>
                  </a:lnTo>
                  <a:lnTo>
                    <a:pt x="516" y="590"/>
                  </a:lnTo>
                  <a:lnTo>
                    <a:pt x="521" y="601"/>
                  </a:lnTo>
                  <a:lnTo>
                    <a:pt x="527" y="611"/>
                  </a:lnTo>
                  <a:lnTo>
                    <a:pt x="534" y="621"/>
                  </a:lnTo>
                  <a:lnTo>
                    <a:pt x="542" y="629"/>
                  </a:lnTo>
                  <a:lnTo>
                    <a:pt x="547" y="633"/>
                  </a:lnTo>
                  <a:lnTo>
                    <a:pt x="551" y="636"/>
                  </a:lnTo>
                  <a:lnTo>
                    <a:pt x="556" y="640"/>
                  </a:lnTo>
                  <a:lnTo>
                    <a:pt x="561" y="643"/>
                  </a:lnTo>
                  <a:lnTo>
                    <a:pt x="571" y="649"/>
                  </a:lnTo>
                  <a:lnTo>
                    <a:pt x="582" y="654"/>
                  </a:lnTo>
                  <a:lnTo>
                    <a:pt x="593" y="657"/>
                  </a:lnTo>
                  <a:lnTo>
                    <a:pt x="606" y="661"/>
                  </a:lnTo>
                  <a:lnTo>
                    <a:pt x="611" y="661"/>
                  </a:lnTo>
                  <a:lnTo>
                    <a:pt x="618" y="662"/>
                  </a:lnTo>
                  <a:lnTo>
                    <a:pt x="630" y="663"/>
                  </a:lnTo>
                  <a:lnTo>
                    <a:pt x="643" y="662"/>
                  </a:lnTo>
                  <a:lnTo>
                    <a:pt x="656" y="661"/>
                  </a:lnTo>
                  <a:lnTo>
                    <a:pt x="668" y="657"/>
                  </a:lnTo>
                  <a:lnTo>
                    <a:pt x="673" y="656"/>
                  </a:lnTo>
                  <a:lnTo>
                    <a:pt x="679" y="654"/>
                  </a:lnTo>
                  <a:lnTo>
                    <a:pt x="690" y="649"/>
                  </a:lnTo>
                  <a:lnTo>
                    <a:pt x="696" y="646"/>
                  </a:lnTo>
                  <a:lnTo>
                    <a:pt x="700" y="643"/>
                  </a:lnTo>
                  <a:lnTo>
                    <a:pt x="706" y="640"/>
                  </a:lnTo>
                  <a:lnTo>
                    <a:pt x="710" y="636"/>
                  </a:lnTo>
                  <a:lnTo>
                    <a:pt x="719" y="629"/>
                  </a:lnTo>
                  <a:lnTo>
                    <a:pt x="727" y="621"/>
                  </a:lnTo>
                  <a:lnTo>
                    <a:pt x="733" y="611"/>
                  </a:lnTo>
                  <a:lnTo>
                    <a:pt x="740" y="601"/>
                  </a:lnTo>
                  <a:lnTo>
                    <a:pt x="742" y="595"/>
                  </a:lnTo>
                  <a:lnTo>
                    <a:pt x="744" y="590"/>
                  </a:lnTo>
                  <a:lnTo>
                    <a:pt x="749" y="577"/>
                  </a:lnTo>
                  <a:lnTo>
                    <a:pt x="752" y="565"/>
                  </a:lnTo>
                  <a:lnTo>
                    <a:pt x="753" y="552"/>
                  </a:lnTo>
                  <a:lnTo>
                    <a:pt x="754" y="539"/>
                  </a:lnTo>
                  <a:lnTo>
                    <a:pt x="753" y="524"/>
                  </a:lnTo>
                  <a:lnTo>
                    <a:pt x="753" y="517"/>
                  </a:lnTo>
                  <a:lnTo>
                    <a:pt x="752" y="511"/>
                  </a:lnTo>
                  <a:lnTo>
                    <a:pt x="749" y="499"/>
                  </a:lnTo>
                  <a:lnTo>
                    <a:pt x="747" y="493"/>
                  </a:lnTo>
                  <a:lnTo>
                    <a:pt x="744" y="488"/>
                  </a:lnTo>
                  <a:lnTo>
                    <a:pt x="740" y="476"/>
                  </a:lnTo>
                  <a:lnTo>
                    <a:pt x="733" y="465"/>
                  </a:lnTo>
                  <a:lnTo>
                    <a:pt x="727" y="456"/>
                  </a:lnTo>
                  <a:lnTo>
                    <a:pt x="719" y="448"/>
                  </a:lnTo>
                  <a:lnTo>
                    <a:pt x="714" y="444"/>
                  </a:lnTo>
                  <a:lnTo>
                    <a:pt x="710" y="440"/>
                  </a:lnTo>
                  <a:lnTo>
                    <a:pt x="706" y="436"/>
                  </a:lnTo>
                  <a:lnTo>
                    <a:pt x="700" y="433"/>
                  </a:lnTo>
                  <a:lnTo>
                    <a:pt x="690" y="428"/>
                  </a:lnTo>
                  <a:lnTo>
                    <a:pt x="679" y="423"/>
                  </a:lnTo>
                  <a:lnTo>
                    <a:pt x="668" y="420"/>
                  </a:lnTo>
                  <a:lnTo>
                    <a:pt x="656" y="416"/>
                  </a:lnTo>
                  <a:lnTo>
                    <a:pt x="643" y="415"/>
                  </a:lnTo>
                  <a:lnTo>
                    <a:pt x="630" y="414"/>
                  </a:lnTo>
                  <a:lnTo>
                    <a:pt x="618" y="415"/>
                  </a:lnTo>
                  <a:lnTo>
                    <a:pt x="606" y="416"/>
                  </a:lnTo>
                  <a:lnTo>
                    <a:pt x="593" y="420"/>
                  </a:lnTo>
                  <a:lnTo>
                    <a:pt x="588" y="421"/>
                  </a:lnTo>
                  <a:lnTo>
                    <a:pt x="582" y="423"/>
                  </a:lnTo>
                  <a:lnTo>
                    <a:pt x="571" y="428"/>
                  </a:lnTo>
                  <a:lnTo>
                    <a:pt x="566" y="431"/>
                  </a:lnTo>
                  <a:lnTo>
                    <a:pt x="561" y="433"/>
                  </a:lnTo>
                  <a:lnTo>
                    <a:pt x="556" y="436"/>
                  </a:lnTo>
                  <a:lnTo>
                    <a:pt x="551" y="440"/>
                  </a:lnTo>
                  <a:lnTo>
                    <a:pt x="542" y="448"/>
                  </a:lnTo>
                  <a:lnTo>
                    <a:pt x="534" y="456"/>
                  </a:lnTo>
                  <a:lnTo>
                    <a:pt x="527" y="465"/>
                  </a:lnTo>
                  <a:lnTo>
                    <a:pt x="521" y="476"/>
                  </a:lnTo>
                  <a:lnTo>
                    <a:pt x="516" y="488"/>
                  </a:lnTo>
                  <a:lnTo>
                    <a:pt x="511" y="499"/>
                  </a:lnTo>
                  <a:lnTo>
                    <a:pt x="509" y="511"/>
                  </a:lnTo>
                  <a:lnTo>
                    <a:pt x="507" y="524"/>
                  </a:lnTo>
                  <a:lnTo>
                    <a:pt x="507" y="531"/>
                  </a:lnTo>
                  <a:lnTo>
                    <a:pt x="506" y="539"/>
                  </a:lnTo>
                  <a:close/>
                  <a:moveTo>
                    <a:pt x="1145" y="175"/>
                  </a:moveTo>
                  <a:lnTo>
                    <a:pt x="959" y="175"/>
                  </a:lnTo>
                  <a:lnTo>
                    <a:pt x="959" y="1"/>
                  </a:lnTo>
                  <a:lnTo>
                    <a:pt x="1145" y="1"/>
                  </a:lnTo>
                  <a:lnTo>
                    <a:pt x="1145" y="175"/>
                  </a:lnTo>
                  <a:close/>
                  <a:moveTo>
                    <a:pt x="965" y="273"/>
                  </a:moveTo>
                  <a:lnTo>
                    <a:pt x="1139" y="273"/>
                  </a:lnTo>
                  <a:lnTo>
                    <a:pt x="1139" y="804"/>
                  </a:lnTo>
                  <a:lnTo>
                    <a:pt x="965" y="804"/>
                  </a:lnTo>
                  <a:lnTo>
                    <a:pt x="965" y="273"/>
                  </a:lnTo>
                  <a:close/>
                  <a:moveTo>
                    <a:pt x="1750" y="475"/>
                  </a:moveTo>
                  <a:lnTo>
                    <a:pt x="1750" y="804"/>
                  </a:lnTo>
                  <a:lnTo>
                    <a:pt x="1578" y="804"/>
                  </a:lnTo>
                  <a:lnTo>
                    <a:pt x="1578" y="523"/>
                  </a:lnTo>
                  <a:lnTo>
                    <a:pt x="1576" y="509"/>
                  </a:lnTo>
                  <a:lnTo>
                    <a:pt x="1575" y="495"/>
                  </a:lnTo>
                  <a:lnTo>
                    <a:pt x="1573" y="483"/>
                  </a:lnTo>
                  <a:lnTo>
                    <a:pt x="1571" y="472"/>
                  </a:lnTo>
                  <a:lnTo>
                    <a:pt x="1568" y="462"/>
                  </a:lnTo>
                  <a:lnTo>
                    <a:pt x="1563" y="452"/>
                  </a:lnTo>
                  <a:lnTo>
                    <a:pt x="1559" y="444"/>
                  </a:lnTo>
                  <a:lnTo>
                    <a:pt x="1555" y="440"/>
                  </a:lnTo>
                  <a:lnTo>
                    <a:pt x="1552" y="436"/>
                  </a:lnTo>
                  <a:lnTo>
                    <a:pt x="1546" y="430"/>
                  </a:lnTo>
                  <a:lnTo>
                    <a:pt x="1539" y="424"/>
                  </a:lnTo>
                  <a:lnTo>
                    <a:pt x="1531" y="420"/>
                  </a:lnTo>
                  <a:lnTo>
                    <a:pt x="1522" y="415"/>
                  </a:lnTo>
                  <a:lnTo>
                    <a:pt x="1512" y="412"/>
                  </a:lnTo>
                  <a:lnTo>
                    <a:pt x="1502" y="410"/>
                  </a:lnTo>
                  <a:lnTo>
                    <a:pt x="1491" y="409"/>
                  </a:lnTo>
                  <a:lnTo>
                    <a:pt x="1480" y="409"/>
                  </a:lnTo>
                  <a:lnTo>
                    <a:pt x="1469" y="409"/>
                  </a:lnTo>
                  <a:lnTo>
                    <a:pt x="1463" y="410"/>
                  </a:lnTo>
                  <a:lnTo>
                    <a:pt x="1459" y="410"/>
                  </a:lnTo>
                  <a:lnTo>
                    <a:pt x="1449" y="412"/>
                  </a:lnTo>
                  <a:lnTo>
                    <a:pt x="1439" y="415"/>
                  </a:lnTo>
                  <a:lnTo>
                    <a:pt x="1430" y="420"/>
                  </a:lnTo>
                  <a:lnTo>
                    <a:pt x="1425" y="422"/>
                  </a:lnTo>
                  <a:lnTo>
                    <a:pt x="1421" y="424"/>
                  </a:lnTo>
                  <a:lnTo>
                    <a:pt x="1413" y="431"/>
                  </a:lnTo>
                  <a:lnTo>
                    <a:pt x="1410" y="434"/>
                  </a:lnTo>
                  <a:lnTo>
                    <a:pt x="1406" y="438"/>
                  </a:lnTo>
                  <a:lnTo>
                    <a:pt x="1403" y="442"/>
                  </a:lnTo>
                  <a:lnTo>
                    <a:pt x="1400" y="445"/>
                  </a:lnTo>
                  <a:lnTo>
                    <a:pt x="1394" y="455"/>
                  </a:lnTo>
                  <a:lnTo>
                    <a:pt x="1389" y="465"/>
                  </a:lnTo>
                  <a:lnTo>
                    <a:pt x="1386" y="471"/>
                  </a:lnTo>
                  <a:lnTo>
                    <a:pt x="1385" y="478"/>
                  </a:lnTo>
                  <a:lnTo>
                    <a:pt x="1383" y="484"/>
                  </a:lnTo>
                  <a:lnTo>
                    <a:pt x="1382" y="491"/>
                  </a:lnTo>
                  <a:lnTo>
                    <a:pt x="1379" y="504"/>
                  </a:lnTo>
                  <a:lnTo>
                    <a:pt x="1378" y="520"/>
                  </a:lnTo>
                  <a:lnTo>
                    <a:pt x="1378" y="537"/>
                  </a:lnTo>
                  <a:lnTo>
                    <a:pt x="1378" y="804"/>
                  </a:lnTo>
                  <a:lnTo>
                    <a:pt x="1203" y="804"/>
                  </a:lnTo>
                  <a:lnTo>
                    <a:pt x="1203" y="273"/>
                  </a:lnTo>
                  <a:lnTo>
                    <a:pt x="1374" y="273"/>
                  </a:lnTo>
                  <a:lnTo>
                    <a:pt x="1374" y="353"/>
                  </a:lnTo>
                  <a:lnTo>
                    <a:pt x="1376" y="353"/>
                  </a:lnTo>
                  <a:lnTo>
                    <a:pt x="1383" y="342"/>
                  </a:lnTo>
                  <a:lnTo>
                    <a:pt x="1391" y="331"/>
                  </a:lnTo>
                  <a:lnTo>
                    <a:pt x="1400" y="321"/>
                  </a:lnTo>
                  <a:lnTo>
                    <a:pt x="1409" y="312"/>
                  </a:lnTo>
                  <a:lnTo>
                    <a:pt x="1418" y="303"/>
                  </a:lnTo>
                  <a:lnTo>
                    <a:pt x="1422" y="299"/>
                  </a:lnTo>
                  <a:lnTo>
                    <a:pt x="1428" y="295"/>
                  </a:lnTo>
                  <a:lnTo>
                    <a:pt x="1438" y="288"/>
                  </a:lnTo>
                  <a:lnTo>
                    <a:pt x="1449" y="281"/>
                  </a:lnTo>
                  <a:lnTo>
                    <a:pt x="1460" y="275"/>
                  </a:lnTo>
                  <a:lnTo>
                    <a:pt x="1472" y="270"/>
                  </a:lnTo>
                  <a:lnTo>
                    <a:pt x="1483" y="265"/>
                  </a:lnTo>
                  <a:lnTo>
                    <a:pt x="1496" y="262"/>
                  </a:lnTo>
                  <a:lnTo>
                    <a:pt x="1509" y="260"/>
                  </a:lnTo>
                  <a:lnTo>
                    <a:pt x="1522" y="258"/>
                  </a:lnTo>
                  <a:lnTo>
                    <a:pt x="1535" y="256"/>
                  </a:lnTo>
                  <a:lnTo>
                    <a:pt x="1550" y="255"/>
                  </a:lnTo>
                  <a:lnTo>
                    <a:pt x="1571" y="256"/>
                  </a:lnTo>
                  <a:lnTo>
                    <a:pt x="1582" y="258"/>
                  </a:lnTo>
                  <a:lnTo>
                    <a:pt x="1592" y="259"/>
                  </a:lnTo>
                  <a:lnTo>
                    <a:pt x="1602" y="261"/>
                  </a:lnTo>
                  <a:lnTo>
                    <a:pt x="1612" y="263"/>
                  </a:lnTo>
                  <a:lnTo>
                    <a:pt x="1621" y="265"/>
                  </a:lnTo>
                  <a:lnTo>
                    <a:pt x="1630" y="269"/>
                  </a:lnTo>
                  <a:lnTo>
                    <a:pt x="1640" y="272"/>
                  </a:lnTo>
                  <a:lnTo>
                    <a:pt x="1647" y="276"/>
                  </a:lnTo>
                  <a:lnTo>
                    <a:pt x="1656" y="281"/>
                  </a:lnTo>
                  <a:lnTo>
                    <a:pt x="1664" y="285"/>
                  </a:lnTo>
                  <a:lnTo>
                    <a:pt x="1672" y="291"/>
                  </a:lnTo>
                  <a:lnTo>
                    <a:pt x="1680" y="296"/>
                  </a:lnTo>
                  <a:lnTo>
                    <a:pt x="1686" y="302"/>
                  </a:lnTo>
                  <a:lnTo>
                    <a:pt x="1693" y="309"/>
                  </a:lnTo>
                  <a:lnTo>
                    <a:pt x="1700" y="315"/>
                  </a:lnTo>
                  <a:lnTo>
                    <a:pt x="1706" y="323"/>
                  </a:lnTo>
                  <a:lnTo>
                    <a:pt x="1712" y="331"/>
                  </a:lnTo>
                  <a:lnTo>
                    <a:pt x="1717" y="339"/>
                  </a:lnTo>
                  <a:lnTo>
                    <a:pt x="1722" y="348"/>
                  </a:lnTo>
                  <a:lnTo>
                    <a:pt x="1726" y="358"/>
                  </a:lnTo>
                  <a:lnTo>
                    <a:pt x="1731" y="366"/>
                  </a:lnTo>
                  <a:lnTo>
                    <a:pt x="1735" y="376"/>
                  </a:lnTo>
                  <a:lnTo>
                    <a:pt x="1739" y="388"/>
                  </a:lnTo>
                  <a:lnTo>
                    <a:pt x="1741" y="399"/>
                  </a:lnTo>
                  <a:lnTo>
                    <a:pt x="1744" y="410"/>
                  </a:lnTo>
                  <a:lnTo>
                    <a:pt x="1745" y="422"/>
                  </a:lnTo>
                  <a:lnTo>
                    <a:pt x="1747" y="434"/>
                  </a:lnTo>
                  <a:lnTo>
                    <a:pt x="1749" y="448"/>
                  </a:lnTo>
                  <a:lnTo>
                    <a:pt x="1750" y="461"/>
                  </a:lnTo>
                  <a:lnTo>
                    <a:pt x="1750" y="475"/>
                  </a:lnTo>
                  <a:close/>
                  <a:moveTo>
                    <a:pt x="2235" y="418"/>
                  </a:moveTo>
                  <a:lnTo>
                    <a:pt x="2235" y="577"/>
                  </a:lnTo>
                  <a:lnTo>
                    <a:pt x="2236" y="594"/>
                  </a:lnTo>
                  <a:lnTo>
                    <a:pt x="2238" y="609"/>
                  </a:lnTo>
                  <a:lnTo>
                    <a:pt x="2240" y="614"/>
                  </a:lnTo>
                  <a:lnTo>
                    <a:pt x="2242" y="620"/>
                  </a:lnTo>
                  <a:lnTo>
                    <a:pt x="2244" y="624"/>
                  </a:lnTo>
                  <a:lnTo>
                    <a:pt x="2247" y="629"/>
                  </a:lnTo>
                  <a:lnTo>
                    <a:pt x="2251" y="632"/>
                  </a:lnTo>
                  <a:lnTo>
                    <a:pt x="2255" y="635"/>
                  </a:lnTo>
                  <a:lnTo>
                    <a:pt x="2260" y="637"/>
                  </a:lnTo>
                  <a:lnTo>
                    <a:pt x="2265" y="640"/>
                  </a:lnTo>
                  <a:lnTo>
                    <a:pt x="2271" y="641"/>
                  </a:lnTo>
                  <a:lnTo>
                    <a:pt x="2277" y="642"/>
                  </a:lnTo>
                  <a:lnTo>
                    <a:pt x="2285" y="643"/>
                  </a:lnTo>
                  <a:lnTo>
                    <a:pt x="2293" y="643"/>
                  </a:lnTo>
                  <a:lnTo>
                    <a:pt x="2313" y="643"/>
                  </a:lnTo>
                  <a:lnTo>
                    <a:pt x="2313" y="804"/>
                  </a:lnTo>
                  <a:lnTo>
                    <a:pt x="2240" y="804"/>
                  </a:lnTo>
                  <a:lnTo>
                    <a:pt x="2221" y="803"/>
                  </a:lnTo>
                  <a:lnTo>
                    <a:pt x="2211" y="803"/>
                  </a:lnTo>
                  <a:lnTo>
                    <a:pt x="2202" y="802"/>
                  </a:lnTo>
                  <a:lnTo>
                    <a:pt x="2184" y="799"/>
                  </a:lnTo>
                  <a:lnTo>
                    <a:pt x="2166" y="794"/>
                  </a:lnTo>
                  <a:lnTo>
                    <a:pt x="2158" y="791"/>
                  </a:lnTo>
                  <a:lnTo>
                    <a:pt x="2151" y="787"/>
                  </a:lnTo>
                  <a:lnTo>
                    <a:pt x="2143" y="784"/>
                  </a:lnTo>
                  <a:lnTo>
                    <a:pt x="2136" y="781"/>
                  </a:lnTo>
                  <a:lnTo>
                    <a:pt x="2130" y="776"/>
                  </a:lnTo>
                  <a:lnTo>
                    <a:pt x="2123" y="772"/>
                  </a:lnTo>
                  <a:lnTo>
                    <a:pt x="2116" y="767"/>
                  </a:lnTo>
                  <a:lnTo>
                    <a:pt x="2111" y="762"/>
                  </a:lnTo>
                  <a:lnTo>
                    <a:pt x="2105" y="756"/>
                  </a:lnTo>
                  <a:lnTo>
                    <a:pt x="2100" y="751"/>
                  </a:lnTo>
                  <a:lnTo>
                    <a:pt x="2090" y="737"/>
                  </a:lnTo>
                  <a:lnTo>
                    <a:pt x="2085" y="730"/>
                  </a:lnTo>
                  <a:lnTo>
                    <a:pt x="2082" y="723"/>
                  </a:lnTo>
                  <a:lnTo>
                    <a:pt x="2075" y="706"/>
                  </a:lnTo>
                  <a:lnTo>
                    <a:pt x="2070" y="689"/>
                  </a:lnTo>
                  <a:lnTo>
                    <a:pt x="2067" y="679"/>
                  </a:lnTo>
                  <a:lnTo>
                    <a:pt x="2065" y="669"/>
                  </a:lnTo>
                  <a:lnTo>
                    <a:pt x="2064" y="659"/>
                  </a:lnTo>
                  <a:lnTo>
                    <a:pt x="2063" y="647"/>
                  </a:lnTo>
                  <a:lnTo>
                    <a:pt x="2062" y="636"/>
                  </a:lnTo>
                  <a:lnTo>
                    <a:pt x="2062" y="624"/>
                  </a:lnTo>
                  <a:lnTo>
                    <a:pt x="2062" y="418"/>
                  </a:lnTo>
                  <a:lnTo>
                    <a:pt x="1959" y="418"/>
                  </a:lnTo>
                  <a:lnTo>
                    <a:pt x="1959" y="273"/>
                  </a:lnTo>
                  <a:lnTo>
                    <a:pt x="2062" y="273"/>
                  </a:lnTo>
                  <a:lnTo>
                    <a:pt x="2062" y="60"/>
                  </a:lnTo>
                  <a:lnTo>
                    <a:pt x="2235" y="60"/>
                  </a:lnTo>
                  <a:lnTo>
                    <a:pt x="2235" y="273"/>
                  </a:lnTo>
                  <a:lnTo>
                    <a:pt x="2345" y="273"/>
                  </a:lnTo>
                  <a:lnTo>
                    <a:pt x="2345" y="418"/>
                  </a:lnTo>
                  <a:lnTo>
                    <a:pt x="2235" y="418"/>
                  </a:lnTo>
                  <a:close/>
                  <a:moveTo>
                    <a:pt x="2556" y="343"/>
                  </a:moveTo>
                  <a:lnTo>
                    <a:pt x="2558" y="343"/>
                  </a:lnTo>
                  <a:lnTo>
                    <a:pt x="2565" y="333"/>
                  </a:lnTo>
                  <a:lnTo>
                    <a:pt x="2573" y="323"/>
                  </a:lnTo>
                  <a:lnTo>
                    <a:pt x="2581" y="314"/>
                  </a:lnTo>
                  <a:lnTo>
                    <a:pt x="2585" y="310"/>
                  </a:lnTo>
                  <a:lnTo>
                    <a:pt x="2589" y="305"/>
                  </a:lnTo>
                  <a:lnTo>
                    <a:pt x="2598" y="298"/>
                  </a:lnTo>
                  <a:lnTo>
                    <a:pt x="2608" y="291"/>
                  </a:lnTo>
                  <a:lnTo>
                    <a:pt x="2618" y="284"/>
                  </a:lnTo>
                  <a:lnTo>
                    <a:pt x="2628" y="279"/>
                  </a:lnTo>
                  <a:lnTo>
                    <a:pt x="2639" y="273"/>
                  </a:lnTo>
                  <a:lnTo>
                    <a:pt x="2651" y="269"/>
                  </a:lnTo>
                  <a:lnTo>
                    <a:pt x="2663" y="264"/>
                  </a:lnTo>
                  <a:lnTo>
                    <a:pt x="2675" y="261"/>
                  </a:lnTo>
                  <a:lnTo>
                    <a:pt x="2687" y="259"/>
                  </a:lnTo>
                  <a:lnTo>
                    <a:pt x="2694" y="258"/>
                  </a:lnTo>
                  <a:lnTo>
                    <a:pt x="2701" y="258"/>
                  </a:lnTo>
                  <a:lnTo>
                    <a:pt x="2714" y="256"/>
                  </a:lnTo>
                  <a:lnTo>
                    <a:pt x="2728" y="255"/>
                  </a:lnTo>
                  <a:lnTo>
                    <a:pt x="2749" y="256"/>
                  </a:lnTo>
                  <a:lnTo>
                    <a:pt x="2760" y="258"/>
                  </a:lnTo>
                  <a:lnTo>
                    <a:pt x="2770" y="259"/>
                  </a:lnTo>
                  <a:lnTo>
                    <a:pt x="2780" y="261"/>
                  </a:lnTo>
                  <a:lnTo>
                    <a:pt x="2790" y="263"/>
                  </a:lnTo>
                  <a:lnTo>
                    <a:pt x="2799" y="265"/>
                  </a:lnTo>
                  <a:lnTo>
                    <a:pt x="2809" y="269"/>
                  </a:lnTo>
                  <a:lnTo>
                    <a:pt x="2818" y="272"/>
                  </a:lnTo>
                  <a:lnTo>
                    <a:pt x="2826" y="276"/>
                  </a:lnTo>
                  <a:lnTo>
                    <a:pt x="2835" y="281"/>
                  </a:lnTo>
                  <a:lnTo>
                    <a:pt x="2843" y="285"/>
                  </a:lnTo>
                  <a:lnTo>
                    <a:pt x="2850" y="291"/>
                  </a:lnTo>
                  <a:lnTo>
                    <a:pt x="2858" y="296"/>
                  </a:lnTo>
                  <a:lnTo>
                    <a:pt x="2865" y="302"/>
                  </a:lnTo>
                  <a:lnTo>
                    <a:pt x="2872" y="309"/>
                  </a:lnTo>
                  <a:lnTo>
                    <a:pt x="2878" y="315"/>
                  </a:lnTo>
                  <a:lnTo>
                    <a:pt x="2885" y="323"/>
                  </a:lnTo>
                  <a:lnTo>
                    <a:pt x="2890" y="331"/>
                  </a:lnTo>
                  <a:lnTo>
                    <a:pt x="2896" y="339"/>
                  </a:lnTo>
                  <a:lnTo>
                    <a:pt x="2900" y="348"/>
                  </a:lnTo>
                  <a:lnTo>
                    <a:pt x="2905" y="358"/>
                  </a:lnTo>
                  <a:lnTo>
                    <a:pt x="2909" y="366"/>
                  </a:lnTo>
                  <a:lnTo>
                    <a:pt x="2914" y="376"/>
                  </a:lnTo>
                  <a:lnTo>
                    <a:pt x="2917" y="388"/>
                  </a:lnTo>
                  <a:lnTo>
                    <a:pt x="2919" y="399"/>
                  </a:lnTo>
                  <a:lnTo>
                    <a:pt x="2923" y="410"/>
                  </a:lnTo>
                  <a:lnTo>
                    <a:pt x="2925" y="422"/>
                  </a:lnTo>
                  <a:lnTo>
                    <a:pt x="2926" y="434"/>
                  </a:lnTo>
                  <a:lnTo>
                    <a:pt x="2927" y="448"/>
                  </a:lnTo>
                  <a:lnTo>
                    <a:pt x="2928" y="461"/>
                  </a:lnTo>
                  <a:lnTo>
                    <a:pt x="2928" y="475"/>
                  </a:lnTo>
                  <a:lnTo>
                    <a:pt x="2928" y="804"/>
                  </a:lnTo>
                  <a:lnTo>
                    <a:pt x="2755" y="804"/>
                  </a:lnTo>
                  <a:lnTo>
                    <a:pt x="2755" y="523"/>
                  </a:lnTo>
                  <a:lnTo>
                    <a:pt x="2754" y="509"/>
                  </a:lnTo>
                  <a:lnTo>
                    <a:pt x="2753" y="495"/>
                  </a:lnTo>
                  <a:lnTo>
                    <a:pt x="2752" y="483"/>
                  </a:lnTo>
                  <a:lnTo>
                    <a:pt x="2748" y="472"/>
                  </a:lnTo>
                  <a:lnTo>
                    <a:pt x="2745" y="462"/>
                  </a:lnTo>
                  <a:lnTo>
                    <a:pt x="2741" y="452"/>
                  </a:lnTo>
                  <a:lnTo>
                    <a:pt x="2738" y="448"/>
                  </a:lnTo>
                  <a:lnTo>
                    <a:pt x="2736" y="444"/>
                  </a:lnTo>
                  <a:lnTo>
                    <a:pt x="2733" y="440"/>
                  </a:lnTo>
                  <a:lnTo>
                    <a:pt x="2731" y="436"/>
                  </a:lnTo>
                  <a:lnTo>
                    <a:pt x="2724" y="430"/>
                  </a:lnTo>
                  <a:lnTo>
                    <a:pt x="2716" y="424"/>
                  </a:lnTo>
                  <a:lnTo>
                    <a:pt x="2708" y="420"/>
                  </a:lnTo>
                  <a:lnTo>
                    <a:pt x="2699" y="415"/>
                  </a:lnTo>
                  <a:lnTo>
                    <a:pt x="2691" y="412"/>
                  </a:lnTo>
                  <a:lnTo>
                    <a:pt x="2681" y="410"/>
                  </a:lnTo>
                  <a:lnTo>
                    <a:pt x="2669" y="409"/>
                  </a:lnTo>
                  <a:lnTo>
                    <a:pt x="2658" y="409"/>
                  </a:lnTo>
                  <a:lnTo>
                    <a:pt x="2647" y="409"/>
                  </a:lnTo>
                  <a:lnTo>
                    <a:pt x="2642" y="410"/>
                  </a:lnTo>
                  <a:lnTo>
                    <a:pt x="2637" y="410"/>
                  </a:lnTo>
                  <a:lnTo>
                    <a:pt x="2627" y="412"/>
                  </a:lnTo>
                  <a:lnTo>
                    <a:pt x="2617" y="415"/>
                  </a:lnTo>
                  <a:lnTo>
                    <a:pt x="2608" y="420"/>
                  </a:lnTo>
                  <a:lnTo>
                    <a:pt x="2604" y="422"/>
                  </a:lnTo>
                  <a:lnTo>
                    <a:pt x="2599" y="424"/>
                  </a:lnTo>
                  <a:lnTo>
                    <a:pt x="2592" y="431"/>
                  </a:lnTo>
                  <a:lnTo>
                    <a:pt x="2588" y="434"/>
                  </a:lnTo>
                  <a:lnTo>
                    <a:pt x="2585" y="438"/>
                  </a:lnTo>
                  <a:lnTo>
                    <a:pt x="2582" y="442"/>
                  </a:lnTo>
                  <a:lnTo>
                    <a:pt x="2578" y="445"/>
                  </a:lnTo>
                  <a:lnTo>
                    <a:pt x="2573" y="455"/>
                  </a:lnTo>
                  <a:lnTo>
                    <a:pt x="2567" y="465"/>
                  </a:lnTo>
                  <a:lnTo>
                    <a:pt x="2566" y="471"/>
                  </a:lnTo>
                  <a:lnTo>
                    <a:pt x="2564" y="478"/>
                  </a:lnTo>
                  <a:lnTo>
                    <a:pt x="2562" y="484"/>
                  </a:lnTo>
                  <a:lnTo>
                    <a:pt x="2561" y="491"/>
                  </a:lnTo>
                  <a:lnTo>
                    <a:pt x="2558" y="504"/>
                  </a:lnTo>
                  <a:lnTo>
                    <a:pt x="2556" y="520"/>
                  </a:lnTo>
                  <a:lnTo>
                    <a:pt x="2556" y="537"/>
                  </a:lnTo>
                  <a:lnTo>
                    <a:pt x="2556" y="804"/>
                  </a:lnTo>
                  <a:lnTo>
                    <a:pt x="2383" y="804"/>
                  </a:lnTo>
                  <a:lnTo>
                    <a:pt x="2383" y="0"/>
                  </a:lnTo>
                  <a:lnTo>
                    <a:pt x="2556" y="0"/>
                  </a:lnTo>
                  <a:lnTo>
                    <a:pt x="2556" y="343"/>
                  </a:lnTo>
                  <a:close/>
                  <a:moveTo>
                    <a:pt x="3506" y="541"/>
                  </a:moveTo>
                  <a:lnTo>
                    <a:pt x="3506" y="580"/>
                  </a:lnTo>
                  <a:lnTo>
                    <a:pt x="3125" y="580"/>
                  </a:lnTo>
                  <a:lnTo>
                    <a:pt x="3128" y="592"/>
                  </a:lnTo>
                  <a:lnTo>
                    <a:pt x="3131" y="603"/>
                  </a:lnTo>
                  <a:lnTo>
                    <a:pt x="3136" y="613"/>
                  </a:lnTo>
                  <a:lnTo>
                    <a:pt x="3141" y="623"/>
                  </a:lnTo>
                  <a:lnTo>
                    <a:pt x="3147" y="632"/>
                  </a:lnTo>
                  <a:lnTo>
                    <a:pt x="3155" y="640"/>
                  </a:lnTo>
                  <a:lnTo>
                    <a:pt x="3163" y="646"/>
                  </a:lnTo>
                  <a:lnTo>
                    <a:pt x="3170" y="653"/>
                  </a:lnTo>
                  <a:lnTo>
                    <a:pt x="3180" y="659"/>
                  </a:lnTo>
                  <a:lnTo>
                    <a:pt x="3189" y="663"/>
                  </a:lnTo>
                  <a:lnTo>
                    <a:pt x="3200" y="667"/>
                  </a:lnTo>
                  <a:lnTo>
                    <a:pt x="3211" y="671"/>
                  </a:lnTo>
                  <a:lnTo>
                    <a:pt x="3223" y="673"/>
                  </a:lnTo>
                  <a:lnTo>
                    <a:pt x="3229" y="674"/>
                  </a:lnTo>
                  <a:lnTo>
                    <a:pt x="3235" y="675"/>
                  </a:lnTo>
                  <a:lnTo>
                    <a:pt x="3248" y="676"/>
                  </a:lnTo>
                  <a:lnTo>
                    <a:pt x="3260" y="676"/>
                  </a:lnTo>
                  <a:lnTo>
                    <a:pt x="3273" y="676"/>
                  </a:lnTo>
                  <a:lnTo>
                    <a:pt x="3285" y="675"/>
                  </a:lnTo>
                  <a:lnTo>
                    <a:pt x="3296" y="674"/>
                  </a:lnTo>
                  <a:lnTo>
                    <a:pt x="3307" y="672"/>
                  </a:lnTo>
                  <a:lnTo>
                    <a:pt x="3318" y="670"/>
                  </a:lnTo>
                  <a:lnTo>
                    <a:pt x="3329" y="666"/>
                  </a:lnTo>
                  <a:lnTo>
                    <a:pt x="3349" y="661"/>
                  </a:lnTo>
                  <a:lnTo>
                    <a:pt x="3359" y="656"/>
                  </a:lnTo>
                  <a:lnTo>
                    <a:pt x="3368" y="653"/>
                  </a:lnTo>
                  <a:lnTo>
                    <a:pt x="3377" y="649"/>
                  </a:lnTo>
                  <a:lnTo>
                    <a:pt x="3386" y="645"/>
                  </a:lnTo>
                  <a:lnTo>
                    <a:pt x="3401" y="636"/>
                  </a:lnTo>
                  <a:lnTo>
                    <a:pt x="3415" y="627"/>
                  </a:lnTo>
                  <a:lnTo>
                    <a:pt x="3478" y="759"/>
                  </a:lnTo>
                  <a:lnTo>
                    <a:pt x="3467" y="765"/>
                  </a:lnTo>
                  <a:lnTo>
                    <a:pt x="3456" y="772"/>
                  </a:lnTo>
                  <a:lnTo>
                    <a:pt x="3445" y="777"/>
                  </a:lnTo>
                  <a:lnTo>
                    <a:pt x="3433" y="783"/>
                  </a:lnTo>
                  <a:lnTo>
                    <a:pt x="3408" y="794"/>
                  </a:lnTo>
                  <a:lnTo>
                    <a:pt x="3395" y="799"/>
                  </a:lnTo>
                  <a:lnTo>
                    <a:pt x="3381" y="803"/>
                  </a:lnTo>
                  <a:lnTo>
                    <a:pt x="3367" y="807"/>
                  </a:lnTo>
                  <a:lnTo>
                    <a:pt x="3353" y="811"/>
                  </a:lnTo>
                  <a:lnTo>
                    <a:pt x="3338" y="814"/>
                  </a:lnTo>
                  <a:lnTo>
                    <a:pt x="3324" y="816"/>
                  </a:lnTo>
                  <a:lnTo>
                    <a:pt x="3308" y="819"/>
                  </a:lnTo>
                  <a:lnTo>
                    <a:pt x="3291" y="820"/>
                  </a:lnTo>
                  <a:lnTo>
                    <a:pt x="3276" y="821"/>
                  </a:lnTo>
                  <a:lnTo>
                    <a:pt x="3258" y="821"/>
                  </a:lnTo>
                  <a:lnTo>
                    <a:pt x="3243" y="821"/>
                  </a:lnTo>
                  <a:lnTo>
                    <a:pt x="3226" y="820"/>
                  </a:lnTo>
                  <a:lnTo>
                    <a:pt x="3210" y="819"/>
                  </a:lnTo>
                  <a:lnTo>
                    <a:pt x="3195" y="816"/>
                  </a:lnTo>
                  <a:lnTo>
                    <a:pt x="3179" y="813"/>
                  </a:lnTo>
                  <a:lnTo>
                    <a:pt x="3165" y="810"/>
                  </a:lnTo>
                  <a:lnTo>
                    <a:pt x="3150" y="805"/>
                  </a:lnTo>
                  <a:lnTo>
                    <a:pt x="3137" y="801"/>
                  </a:lnTo>
                  <a:lnTo>
                    <a:pt x="3124" y="796"/>
                  </a:lnTo>
                  <a:lnTo>
                    <a:pt x="3110" y="790"/>
                  </a:lnTo>
                  <a:lnTo>
                    <a:pt x="3098" y="784"/>
                  </a:lnTo>
                  <a:lnTo>
                    <a:pt x="3087" y="777"/>
                  </a:lnTo>
                  <a:lnTo>
                    <a:pt x="3080" y="773"/>
                  </a:lnTo>
                  <a:lnTo>
                    <a:pt x="3075" y="770"/>
                  </a:lnTo>
                  <a:lnTo>
                    <a:pt x="3064" y="762"/>
                  </a:lnTo>
                  <a:lnTo>
                    <a:pt x="3054" y="753"/>
                  </a:lnTo>
                  <a:lnTo>
                    <a:pt x="3044" y="744"/>
                  </a:lnTo>
                  <a:lnTo>
                    <a:pt x="3034" y="735"/>
                  </a:lnTo>
                  <a:lnTo>
                    <a:pt x="3025" y="725"/>
                  </a:lnTo>
                  <a:lnTo>
                    <a:pt x="3017" y="714"/>
                  </a:lnTo>
                  <a:lnTo>
                    <a:pt x="3009" y="704"/>
                  </a:lnTo>
                  <a:lnTo>
                    <a:pt x="3002" y="692"/>
                  </a:lnTo>
                  <a:lnTo>
                    <a:pt x="2995" y="681"/>
                  </a:lnTo>
                  <a:lnTo>
                    <a:pt x="2989" y="669"/>
                  </a:lnTo>
                  <a:lnTo>
                    <a:pt x="2984" y="655"/>
                  </a:lnTo>
                  <a:lnTo>
                    <a:pt x="2978" y="643"/>
                  </a:lnTo>
                  <a:lnTo>
                    <a:pt x="2974" y="630"/>
                  </a:lnTo>
                  <a:lnTo>
                    <a:pt x="2970" y="615"/>
                  </a:lnTo>
                  <a:lnTo>
                    <a:pt x="2967" y="601"/>
                  </a:lnTo>
                  <a:lnTo>
                    <a:pt x="2965" y="586"/>
                  </a:lnTo>
                  <a:lnTo>
                    <a:pt x="2964" y="572"/>
                  </a:lnTo>
                  <a:lnTo>
                    <a:pt x="2963" y="556"/>
                  </a:lnTo>
                  <a:lnTo>
                    <a:pt x="2963" y="541"/>
                  </a:lnTo>
                  <a:lnTo>
                    <a:pt x="2963" y="524"/>
                  </a:lnTo>
                  <a:lnTo>
                    <a:pt x="2964" y="508"/>
                  </a:lnTo>
                  <a:lnTo>
                    <a:pt x="2965" y="492"/>
                  </a:lnTo>
                  <a:lnTo>
                    <a:pt x="2967" y="478"/>
                  </a:lnTo>
                  <a:lnTo>
                    <a:pt x="2970" y="462"/>
                  </a:lnTo>
                  <a:lnTo>
                    <a:pt x="2974" y="448"/>
                  </a:lnTo>
                  <a:lnTo>
                    <a:pt x="2978" y="434"/>
                  </a:lnTo>
                  <a:lnTo>
                    <a:pt x="2983" y="421"/>
                  </a:lnTo>
                  <a:lnTo>
                    <a:pt x="2988" y="408"/>
                  </a:lnTo>
                  <a:lnTo>
                    <a:pt x="2994" y="395"/>
                  </a:lnTo>
                  <a:lnTo>
                    <a:pt x="3000" y="383"/>
                  </a:lnTo>
                  <a:lnTo>
                    <a:pt x="3008" y="372"/>
                  </a:lnTo>
                  <a:lnTo>
                    <a:pt x="3015" y="361"/>
                  </a:lnTo>
                  <a:lnTo>
                    <a:pt x="3024" y="351"/>
                  </a:lnTo>
                  <a:lnTo>
                    <a:pt x="3032" y="341"/>
                  </a:lnTo>
                  <a:lnTo>
                    <a:pt x="3042" y="332"/>
                  </a:lnTo>
                  <a:lnTo>
                    <a:pt x="3050" y="323"/>
                  </a:lnTo>
                  <a:lnTo>
                    <a:pt x="3060" y="314"/>
                  </a:lnTo>
                  <a:lnTo>
                    <a:pt x="3072" y="306"/>
                  </a:lnTo>
                  <a:lnTo>
                    <a:pt x="3083" y="300"/>
                  </a:lnTo>
                  <a:lnTo>
                    <a:pt x="3094" y="293"/>
                  </a:lnTo>
                  <a:lnTo>
                    <a:pt x="3105" y="286"/>
                  </a:lnTo>
                  <a:lnTo>
                    <a:pt x="3117" y="281"/>
                  </a:lnTo>
                  <a:lnTo>
                    <a:pt x="3130" y="276"/>
                  </a:lnTo>
                  <a:lnTo>
                    <a:pt x="3143" y="272"/>
                  </a:lnTo>
                  <a:lnTo>
                    <a:pt x="3156" y="268"/>
                  </a:lnTo>
                  <a:lnTo>
                    <a:pt x="3169" y="264"/>
                  </a:lnTo>
                  <a:lnTo>
                    <a:pt x="3184" y="262"/>
                  </a:lnTo>
                  <a:lnTo>
                    <a:pt x="3198" y="260"/>
                  </a:lnTo>
                  <a:lnTo>
                    <a:pt x="3213" y="258"/>
                  </a:lnTo>
                  <a:lnTo>
                    <a:pt x="3227" y="258"/>
                  </a:lnTo>
                  <a:lnTo>
                    <a:pt x="3243" y="256"/>
                  </a:lnTo>
                  <a:lnTo>
                    <a:pt x="3257" y="258"/>
                  </a:lnTo>
                  <a:lnTo>
                    <a:pt x="3271" y="258"/>
                  </a:lnTo>
                  <a:lnTo>
                    <a:pt x="3286" y="260"/>
                  </a:lnTo>
                  <a:lnTo>
                    <a:pt x="3299" y="261"/>
                  </a:lnTo>
                  <a:lnTo>
                    <a:pt x="3313" y="263"/>
                  </a:lnTo>
                  <a:lnTo>
                    <a:pt x="3326" y="266"/>
                  </a:lnTo>
                  <a:lnTo>
                    <a:pt x="3339" y="270"/>
                  </a:lnTo>
                  <a:lnTo>
                    <a:pt x="3345" y="272"/>
                  </a:lnTo>
                  <a:lnTo>
                    <a:pt x="3351" y="274"/>
                  </a:lnTo>
                  <a:lnTo>
                    <a:pt x="3363" y="279"/>
                  </a:lnTo>
                  <a:lnTo>
                    <a:pt x="3375" y="284"/>
                  </a:lnTo>
                  <a:lnTo>
                    <a:pt x="3386" y="290"/>
                  </a:lnTo>
                  <a:lnTo>
                    <a:pt x="3396" y="296"/>
                  </a:lnTo>
                  <a:lnTo>
                    <a:pt x="3406" y="303"/>
                  </a:lnTo>
                  <a:lnTo>
                    <a:pt x="3411" y="306"/>
                  </a:lnTo>
                  <a:lnTo>
                    <a:pt x="3416" y="311"/>
                  </a:lnTo>
                  <a:lnTo>
                    <a:pt x="3425" y="319"/>
                  </a:lnTo>
                  <a:lnTo>
                    <a:pt x="3434" y="326"/>
                  </a:lnTo>
                  <a:lnTo>
                    <a:pt x="3443" y="336"/>
                  </a:lnTo>
                  <a:lnTo>
                    <a:pt x="3450" y="345"/>
                  </a:lnTo>
                  <a:lnTo>
                    <a:pt x="3458" y="355"/>
                  </a:lnTo>
                  <a:lnTo>
                    <a:pt x="3465" y="366"/>
                  </a:lnTo>
                  <a:lnTo>
                    <a:pt x="3471" y="378"/>
                  </a:lnTo>
                  <a:lnTo>
                    <a:pt x="3477" y="390"/>
                  </a:lnTo>
                  <a:lnTo>
                    <a:pt x="3483" y="402"/>
                  </a:lnTo>
                  <a:lnTo>
                    <a:pt x="3487" y="415"/>
                  </a:lnTo>
                  <a:lnTo>
                    <a:pt x="3489" y="422"/>
                  </a:lnTo>
                  <a:lnTo>
                    <a:pt x="3491" y="429"/>
                  </a:lnTo>
                  <a:lnTo>
                    <a:pt x="3495" y="443"/>
                  </a:lnTo>
                  <a:lnTo>
                    <a:pt x="3498" y="458"/>
                  </a:lnTo>
                  <a:lnTo>
                    <a:pt x="3501" y="473"/>
                  </a:lnTo>
                  <a:lnTo>
                    <a:pt x="3502" y="490"/>
                  </a:lnTo>
                  <a:lnTo>
                    <a:pt x="3505" y="506"/>
                  </a:lnTo>
                  <a:lnTo>
                    <a:pt x="3506" y="523"/>
                  </a:lnTo>
                  <a:lnTo>
                    <a:pt x="3506" y="541"/>
                  </a:lnTo>
                  <a:close/>
                  <a:moveTo>
                    <a:pt x="3126" y="478"/>
                  </a:moveTo>
                  <a:lnTo>
                    <a:pt x="3338" y="478"/>
                  </a:lnTo>
                  <a:lnTo>
                    <a:pt x="3337" y="466"/>
                  </a:lnTo>
                  <a:lnTo>
                    <a:pt x="3335" y="455"/>
                  </a:lnTo>
                  <a:lnTo>
                    <a:pt x="3333" y="445"/>
                  </a:lnTo>
                  <a:lnTo>
                    <a:pt x="3329" y="436"/>
                  </a:lnTo>
                  <a:lnTo>
                    <a:pt x="3325" y="428"/>
                  </a:lnTo>
                  <a:lnTo>
                    <a:pt x="3319" y="420"/>
                  </a:lnTo>
                  <a:lnTo>
                    <a:pt x="3317" y="415"/>
                  </a:lnTo>
                  <a:lnTo>
                    <a:pt x="3314" y="412"/>
                  </a:lnTo>
                  <a:lnTo>
                    <a:pt x="3308" y="405"/>
                  </a:lnTo>
                  <a:lnTo>
                    <a:pt x="3300" y="400"/>
                  </a:lnTo>
                  <a:lnTo>
                    <a:pt x="3293" y="394"/>
                  </a:lnTo>
                  <a:lnTo>
                    <a:pt x="3285" y="390"/>
                  </a:lnTo>
                  <a:lnTo>
                    <a:pt x="3276" y="386"/>
                  </a:lnTo>
                  <a:lnTo>
                    <a:pt x="3267" y="383"/>
                  </a:lnTo>
                  <a:lnTo>
                    <a:pt x="3257" y="382"/>
                  </a:lnTo>
                  <a:lnTo>
                    <a:pt x="3247" y="380"/>
                  </a:lnTo>
                  <a:lnTo>
                    <a:pt x="3237" y="380"/>
                  </a:lnTo>
                  <a:lnTo>
                    <a:pt x="3226" y="380"/>
                  </a:lnTo>
                  <a:lnTo>
                    <a:pt x="3216" y="381"/>
                  </a:lnTo>
                  <a:lnTo>
                    <a:pt x="3206" y="383"/>
                  </a:lnTo>
                  <a:lnTo>
                    <a:pt x="3196" y="385"/>
                  </a:lnTo>
                  <a:lnTo>
                    <a:pt x="3187" y="389"/>
                  </a:lnTo>
                  <a:lnTo>
                    <a:pt x="3178" y="393"/>
                  </a:lnTo>
                  <a:lnTo>
                    <a:pt x="3170" y="398"/>
                  </a:lnTo>
                  <a:lnTo>
                    <a:pt x="3163" y="403"/>
                  </a:lnTo>
                  <a:lnTo>
                    <a:pt x="3156" y="409"/>
                  </a:lnTo>
                  <a:lnTo>
                    <a:pt x="3149" y="416"/>
                  </a:lnTo>
                  <a:lnTo>
                    <a:pt x="3144" y="424"/>
                  </a:lnTo>
                  <a:lnTo>
                    <a:pt x="3139" y="433"/>
                  </a:lnTo>
                  <a:lnTo>
                    <a:pt x="3137" y="438"/>
                  </a:lnTo>
                  <a:lnTo>
                    <a:pt x="3135" y="443"/>
                  </a:lnTo>
                  <a:lnTo>
                    <a:pt x="3131" y="453"/>
                  </a:lnTo>
                  <a:lnTo>
                    <a:pt x="3128" y="465"/>
                  </a:lnTo>
                  <a:lnTo>
                    <a:pt x="3126" y="4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38714433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87396" y="341313"/>
            <a:ext cx="1869514" cy="482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are clic per modificare lo stile del titolo</a:t>
            </a:r>
            <a:endParaRPr lang="it-IT" dirty="0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445C0-5C9F-4812-9A75-571F4168D1BB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" preserve="1" userDrawn="1">
  <p:cSld name="Title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8669060" y="6501387"/>
            <a:ext cx="1408596" cy="602019"/>
            <a:chOff x="10200456" y="6170033"/>
            <a:chExt cx="1657426" cy="571336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10200456" y="6170033"/>
              <a:ext cx="1657426" cy="571336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0361613" cy="72263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6"/>
                </a:move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846199" y="6211926"/>
                </a:lnTo>
                <a:lnTo>
                  <a:pt x="10754785" y="6211926"/>
                </a:lnTo>
                <a:lnTo>
                  <a:pt x="10663510" y="6211926"/>
                </a:lnTo>
                <a:lnTo>
                  <a:pt x="10572095" y="6211926"/>
                </a:lnTo>
                <a:lnTo>
                  <a:pt x="10480540" y="6211926"/>
                </a:lnTo>
                <a:lnTo>
                  <a:pt x="10389125" y="62119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marR="0" indent="0" algn="r" defTabSz="777149" rtl="0" eaLnBrk="1" fontAlgn="auto" latinLnBrk="0" hangingPunct="1">
              <a:lnSpc>
                <a:spcPct val="100000"/>
              </a:lnSpc>
              <a:spcBef>
                <a:spcPts val="68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02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029433"/>
            <a:ext cx="7833271" cy="1365600"/>
          </a:xfrm>
        </p:spPr>
        <p:txBody>
          <a:bodyPr anchor="t" anchorCtr="0"/>
          <a:lstStyle>
            <a:lvl1pPr algn="l">
              <a:defRPr sz="4250" b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479400"/>
            <a:ext cx="7833271" cy="379333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accent2"/>
                </a:solidFill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211"/>
            <a:ext cx="1104491" cy="99385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7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46707068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ega Picture" preserve="1" userDrawn="1">
  <p:cSld name="Title Slide Nega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/>
          <p:cNvGrpSpPr/>
          <p:nvPr userDrawn="1"/>
        </p:nvGrpSpPr>
        <p:grpSpPr>
          <a:xfrm>
            <a:off x="8669060" y="6501387"/>
            <a:ext cx="1408596" cy="602019"/>
            <a:chOff x="10200456" y="6170033"/>
            <a:chExt cx="1657426" cy="571336"/>
          </a:xfrm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10200456" y="6170033"/>
              <a:ext cx="1657426" cy="571336"/>
            </a:xfrm>
            <a:custGeom>
              <a:avLst/>
              <a:gdLst>
                <a:gd name="T0" fmla="*/ 0 w 10464"/>
                <a:gd name="T1" fmla="*/ 3488 h 3488"/>
                <a:gd name="T2" fmla="*/ 653 w 10464"/>
                <a:gd name="T3" fmla="*/ 3488 h 3488"/>
                <a:gd name="T4" fmla="*/ 1307 w 10464"/>
                <a:gd name="T5" fmla="*/ 3488 h 3488"/>
                <a:gd name="T6" fmla="*/ 1962 w 10464"/>
                <a:gd name="T7" fmla="*/ 3488 h 3488"/>
                <a:gd name="T8" fmla="*/ 2616 w 10464"/>
                <a:gd name="T9" fmla="*/ 3488 h 3488"/>
                <a:gd name="T10" fmla="*/ 3269 w 10464"/>
                <a:gd name="T11" fmla="*/ 3488 h 3488"/>
                <a:gd name="T12" fmla="*/ 3923 w 10464"/>
                <a:gd name="T13" fmla="*/ 3488 h 3488"/>
                <a:gd name="T14" fmla="*/ 4578 w 10464"/>
                <a:gd name="T15" fmla="*/ 3488 h 3488"/>
                <a:gd name="T16" fmla="*/ 5232 w 10464"/>
                <a:gd name="T17" fmla="*/ 3488 h 3488"/>
                <a:gd name="T18" fmla="*/ 5885 w 10464"/>
                <a:gd name="T19" fmla="*/ 3488 h 3488"/>
                <a:gd name="T20" fmla="*/ 6539 w 10464"/>
                <a:gd name="T21" fmla="*/ 3488 h 3488"/>
                <a:gd name="T22" fmla="*/ 7193 w 10464"/>
                <a:gd name="T23" fmla="*/ 3488 h 3488"/>
                <a:gd name="T24" fmla="*/ 7848 w 10464"/>
                <a:gd name="T25" fmla="*/ 3488 h 3488"/>
                <a:gd name="T26" fmla="*/ 8501 w 10464"/>
                <a:gd name="T27" fmla="*/ 3488 h 3488"/>
                <a:gd name="T28" fmla="*/ 9155 w 10464"/>
                <a:gd name="T29" fmla="*/ 3488 h 3488"/>
                <a:gd name="T30" fmla="*/ 9809 w 10464"/>
                <a:gd name="T31" fmla="*/ 3488 h 3488"/>
                <a:gd name="T32" fmla="*/ 10464 w 10464"/>
                <a:gd name="T33" fmla="*/ 3488 h 3488"/>
                <a:gd name="T34" fmla="*/ 10464 w 10464"/>
                <a:gd name="T35" fmla="*/ 2616 h 3488"/>
                <a:gd name="T36" fmla="*/ 10464 w 10464"/>
                <a:gd name="T37" fmla="*/ 1744 h 3488"/>
                <a:gd name="T38" fmla="*/ 10464 w 10464"/>
                <a:gd name="T39" fmla="*/ 872 h 3488"/>
                <a:gd name="T40" fmla="*/ 10464 w 10464"/>
                <a:gd name="T41" fmla="*/ 0 h 3488"/>
                <a:gd name="T42" fmla="*/ 9809 w 10464"/>
                <a:gd name="T43" fmla="*/ 0 h 3488"/>
                <a:gd name="T44" fmla="*/ 9155 w 10464"/>
                <a:gd name="T45" fmla="*/ 0 h 3488"/>
                <a:gd name="T46" fmla="*/ 8501 w 10464"/>
                <a:gd name="T47" fmla="*/ 0 h 3488"/>
                <a:gd name="T48" fmla="*/ 7848 w 10464"/>
                <a:gd name="T49" fmla="*/ 0 h 3488"/>
                <a:gd name="T50" fmla="*/ 7193 w 10464"/>
                <a:gd name="T51" fmla="*/ 0 h 3488"/>
                <a:gd name="T52" fmla="*/ 6539 w 10464"/>
                <a:gd name="T53" fmla="*/ 0 h 3488"/>
                <a:gd name="T54" fmla="*/ 5885 w 10464"/>
                <a:gd name="T55" fmla="*/ 0 h 3488"/>
                <a:gd name="T56" fmla="*/ 5232 w 10464"/>
                <a:gd name="T57" fmla="*/ 0 h 3488"/>
                <a:gd name="T58" fmla="*/ 4578 w 10464"/>
                <a:gd name="T59" fmla="*/ 0 h 3488"/>
                <a:gd name="T60" fmla="*/ 3923 w 10464"/>
                <a:gd name="T61" fmla="*/ 0 h 3488"/>
                <a:gd name="T62" fmla="*/ 3269 w 10464"/>
                <a:gd name="T63" fmla="*/ 0 h 3488"/>
                <a:gd name="T64" fmla="*/ 2616 w 10464"/>
                <a:gd name="T65" fmla="*/ 0 h 3488"/>
                <a:gd name="T66" fmla="*/ 1962 w 10464"/>
                <a:gd name="T67" fmla="*/ 0 h 3488"/>
                <a:gd name="T68" fmla="*/ 1307 w 10464"/>
                <a:gd name="T69" fmla="*/ 0 h 3488"/>
                <a:gd name="T70" fmla="*/ 653 w 10464"/>
                <a:gd name="T71" fmla="*/ 0 h 3488"/>
                <a:gd name="T72" fmla="*/ 0 w 10464"/>
                <a:gd name="T73" fmla="*/ 0 h 3488"/>
                <a:gd name="T74" fmla="*/ 0 w 10464"/>
                <a:gd name="T75" fmla="*/ 872 h 3488"/>
                <a:gd name="T76" fmla="*/ 0 w 10464"/>
                <a:gd name="T77" fmla="*/ 1744 h 3488"/>
                <a:gd name="T78" fmla="*/ 0 w 10464"/>
                <a:gd name="T79" fmla="*/ 2616 h 3488"/>
                <a:gd name="T80" fmla="*/ 0 w 10464"/>
                <a:gd name="T81" fmla="*/ 3488 h 3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464" h="3488">
                  <a:moveTo>
                    <a:pt x="0" y="3488"/>
                  </a:moveTo>
                  <a:lnTo>
                    <a:pt x="653" y="3488"/>
                  </a:lnTo>
                  <a:lnTo>
                    <a:pt x="1307" y="3488"/>
                  </a:lnTo>
                  <a:lnTo>
                    <a:pt x="1962" y="3488"/>
                  </a:lnTo>
                  <a:lnTo>
                    <a:pt x="2616" y="3488"/>
                  </a:lnTo>
                  <a:lnTo>
                    <a:pt x="3269" y="3488"/>
                  </a:lnTo>
                  <a:lnTo>
                    <a:pt x="3923" y="3488"/>
                  </a:lnTo>
                  <a:lnTo>
                    <a:pt x="4578" y="3488"/>
                  </a:lnTo>
                  <a:lnTo>
                    <a:pt x="5232" y="3488"/>
                  </a:lnTo>
                  <a:lnTo>
                    <a:pt x="5885" y="3488"/>
                  </a:lnTo>
                  <a:lnTo>
                    <a:pt x="6539" y="3488"/>
                  </a:lnTo>
                  <a:lnTo>
                    <a:pt x="7193" y="3488"/>
                  </a:lnTo>
                  <a:lnTo>
                    <a:pt x="7848" y="3488"/>
                  </a:lnTo>
                  <a:lnTo>
                    <a:pt x="8501" y="3488"/>
                  </a:lnTo>
                  <a:lnTo>
                    <a:pt x="9155" y="3488"/>
                  </a:lnTo>
                  <a:lnTo>
                    <a:pt x="9809" y="3488"/>
                  </a:lnTo>
                  <a:lnTo>
                    <a:pt x="10464" y="3488"/>
                  </a:lnTo>
                  <a:lnTo>
                    <a:pt x="10464" y="2616"/>
                  </a:lnTo>
                  <a:lnTo>
                    <a:pt x="10464" y="1744"/>
                  </a:lnTo>
                  <a:lnTo>
                    <a:pt x="10464" y="872"/>
                  </a:lnTo>
                  <a:lnTo>
                    <a:pt x="10464" y="0"/>
                  </a:lnTo>
                  <a:lnTo>
                    <a:pt x="9809" y="0"/>
                  </a:lnTo>
                  <a:lnTo>
                    <a:pt x="9155" y="0"/>
                  </a:lnTo>
                  <a:lnTo>
                    <a:pt x="8501" y="0"/>
                  </a:lnTo>
                  <a:lnTo>
                    <a:pt x="7848" y="0"/>
                  </a:lnTo>
                  <a:lnTo>
                    <a:pt x="7193" y="0"/>
                  </a:lnTo>
                  <a:lnTo>
                    <a:pt x="6539" y="0"/>
                  </a:lnTo>
                  <a:lnTo>
                    <a:pt x="5885" y="0"/>
                  </a:lnTo>
                  <a:lnTo>
                    <a:pt x="5232" y="0"/>
                  </a:lnTo>
                  <a:lnTo>
                    <a:pt x="4578" y="0"/>
                  </a:lnTo>
                  <a:lnTo>
                    <a:pt x="3923" y="0"/>
                  </a:lnTo>
                  <a:lnTo>
                    <a:pt x="3269" y="0"/>
                  </a:lnTo>
                  <a:lnTo>
                    <a:pt x="2616" y="0"/>
                  </a:lnTo>
                  <a:lnTo>
                    <a:pt x="1962" y="0"/>
                  </a:lnTo>
                  <a:lnTo>
                    <a:pt x="1307" y="0"/>
                  </a:lnTo>
                  <a:lnTo>
                    <a:pt x="653" y="0"/>
                  </a:lnTo>
                  <a:lnTo>
                    <a:pt x="0" y="0"/>
                  </a:lnTo>
                  <a:lnTo>
                    <a:pt x="0" y="872"/>
                  </a:lnTo>
                  <a:lnTo>
                    <a:pt x="0" y="1744"/>
                  </a:lnTo>
                  <a:lnTo>
                    <a:pt x="0" y="2616"/>
                  </a:lnTo>
                  <a:lnTo>
                    <a:pt x="0" y="3488"/>
                  </a:lnTo>
                  <a:close/>
                </a:path>
              </a:pathLst>
            </a:custGeom>
            <a:solidFill>
              <a:srgbClr val="5AC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10419386" y="6306922"/>
              <a:ext cx="1218166" cy="286381"/>
            </a:xfrm>
            <a:custGeom>
              <a:avLst/>
              <a:gdLst>
                <a:gd name="T0" fmla="*/ 3454 w 8720"/>
                <a:gd name="T1" fmla="*/ 1049 h 2050"/>
                <a:gd name="T2" fmla="*/ 3166 w 8720"/>
                <a:gd name="T3" fmla="*/ 1051 h 2050"/>
                <a:gd name="T4" fmla="*/ 3068 w 8720"/>
                <a:gd name="T5" fmla="*/ 1409 h 2050"/>
                <a:gd name="T6" fmla="*/ 3261 w 8720"/>
                <a:gd name="T7" fmla="*/ 1675 h 2050"/>
                <a:gd name="T8" fmla="*/ 3519 w 8720"/>
                <a:gd name="T9" fmla="*/ 1539 h 2050"/>
                <a:gd name="T10" fmla="*/ 3863 w 8720"/>
                <a:gd name="T11" fmla="*/ 1565 h 2050"/>
                <a:gd name="T12" fmla="*/ 3603 w 8720"/>
                <a:gd name="T13" fmla="*/ 1898 h 2050"/>
                <a:gd name="T14" fmla="*/ 3188 w 8720"/>
                <a:gd name="T15" fmla="*/ 1959 h 2050"/>
                <a:gd name="T16" fmla="*/ 2786 w 8720"/>
                <a:gd name="T17" fmla="*/ 1655 h 2050"/>
                <a:gd name="T18" fmla="*/ 2732 w 8720"/>
                <a:gd name="T19" fmla="*/ 1207 h 2050"/>
                <a:gd name="T20" fmla="*/ 3018 w 8720"/>
                <a:gd name="T21" fmla="*/ 786 h 2050"/>
                <a:gd name="T22" fmla="*/ 3503 w 8720"/>
                <a:gd name="T23" fmla="*/ 740 h 2050"/>
                <a:gd name="T24" fmla="*/ 3857 w 8720"/>
                <a:gd name="T25" fmla="*/ 1088 h 2050"/>
                <a:gd name="T26" fmla="*/ 4586 w 8720"/>
                <a:gd name="T27" fmla="*/ 1045 h 2050"/>
                <a:gd name="T28" fmla="*/ 4361 w 8720"/>
                <a:gd name="T29" fmla="*/ 1327 h 2050"/>
                <a:gd name="T30" fmla="*/ 4391 w 8720"/>
                <a:gd name="T31" fmla="*/ 895 h 2050"/>
                <a:gd name="T32" fmla="*/ 4703 w 8720"/>
                <a:gd name="T33" fmla="*/ 728 h 2050"/>
                <a:gd name="T34" fmla="*/ 5384 w 8720"/>
                <a:gd name="T35" fmla="*/ 1679 h 2050"/>
                <a:gd name="T36" fmla="*/ 5258 w 8720"/>
                <a:gd name="T37" fmla="*/ 1026 h 2050"/>
                <a:gd name="T38" fmla="*/ 4962 w 8720"/>
                <a:gd name="T39" fmla="*/ 1758 h 2050"/>
                <a:gd name="T40" fmla="*/ 5374 w 8720"/>
                <a:gd name="T41" fmla="*/ 1960 h 2050"/>
                <a:gd name="T42" fmla="*/ 6441 w 8720"/>
                <a:gd name="T43" fmla="*/ 1538 h 2050"/>
                <a:gd name="T44" fmla="*/ 6231 w 8720"/>
                <a:gd name="T45" fmla="*/ 1676 h 2050"/>
                <a:gd name="T46" fmla="*/ 6056 w 8720"/>
                <a:gd name="T47" fmla="*/ 1487 h 2050"/>
                <a:gd name="T48" fmla="*/ 5746 w 8720"/>
                <a:gd name="T49" fmla="*/ 1671 h 2050"/>
                <a:gd name="T50" fmla="*/ 5949 w 8720"/>
                <a:gd name="T51" fmla="*/ 1899 h 2050"/>
                <a:gd name="T52" fmla="*/ 6505 w 8720"/>
                <a:gd name="T53" fmla="*/ 1921 h 2050"/>
                <a:gd name="T54" fmla="*/ 6769 w 8720"/>
                <a:gd name="T55" fmla="*/ 1628 h 2050"/>
                <a:gd name="T56" fmla="*/ 8698 w 8720"/>
                <a:gd name="T57" fmla="*/ 985 h 2050"/>
                <a:gd name="T58" fmla="*/ 8484 w 8720"/>
                <a:gd name="T59" fmla="*/ 747 h 2050"/>
                <a:gd name="T60" fmla="*/ 8083 w 8720"/>
                <a:gd name="T61" fmla="*/ 806 h 2050"/>
                <a:gd name="T62" fmla="*/ 7885 w 8720"/>
                <a:gd name="T63" fmla="*/ 840 h 2050"/>
                <a:gd name="T64" fmla="*/ 7630 w 8720"/>
                <a:gd name="T65" fmla="*/ 721 h 2050"/>
                <a:gd name="T66" fmla="*/ 7324 w 8720"/>
                <a:gd name="T67" fmla="*/ 871 h 2050"/>
                <a:gd name="T68" fmla="*/ 7270 w 8720"/>
                <a:gd name="T69" fmla="*/ 1283 h 2050"/>
                <a:gd name="T70" fmla="*/ 7447 w 8720"/>
                <a:gd name="T71" fmla="*/ 1034 h 2050"/>
                <a:gd name="T72" fmla="*/ 7645 w 8720"/>
                <a:gd name="T73" fmla="*/ 1211 h 2050"/>
                <a:gd name="T74" fmla="*/ 8034 w 8720"/>
                <a:gd name="T75" fmla="*/ 1138 h 2050"/>
                <a:gd name="T76" fmla="*/ 8289 w 8720"/>
                <a:gd name="T77" fmla="*/ 1046 h 2050"/>
                <a:gd name="T78" fmla="*/ 8377 w 8720"/>
                <a:gd name="T79" fmla="*/ 1938 h 2050"/>
                <a:gd name="T80" fmla="*/ 2458 w 8720"/>
                <a:gd name="T81" fmla="*/ 483 h 2050"/>
                <a:gd name="T82" fmla="*/ 2107 w 8720"/>
                <a:gd name="T83" fmla="*/ 1483 h 2050"/>
                <a:gd name="T84" fmla="*/ 2152 w 8720"/>
                <a:gd name="T85" fmla="*/ 299 h 2050"/>
                <a:gd name="T86" fmla="*/ 2419 w 8720"/>
                <a:gd name="T87" fmla="*/ 83 h 2050"/>
                <a:gd name="T88" fmla="*/ 2622 w 8720"/>
                <a:gd name="T89" fmla="*/ 369 h 2050"/>
                <a:gd name="T90" fmla="*/ 1130 w 8720"/>
                <a:gd name="T91" fmla="*/ 2050 h 2050"/>
                <a:gd name="T92" fmla="*/ 570 w 8720"/>
                <a:gd name="T93" fmla="*/ 1915 h 2050"/>
                <a:gd name="T94" fmla="*/ 120 w 8720"/>
                <a:gd name="T95" fmla="*/ 1452 h 2050"/>
                <a:gd name="T96" fmla="*/ 8 w 8720"/>
                <a:gd name="T97" fmla="*/ 822 h 2050"/>
                <a:gd name="T98" fmla="*/ 222 w 8720"/>
                <a:gd name="T99" fmla="*/ 289 h 2050"/>
                <a:gd name="T100" fmla="*/ 690 w 8720"/>
                <a:gd name="T101" fmla="*/ 389 h 2050"/>
                <a:gd name="T102" fmla="*/ 424 w 8720"/>
                <a:gd name="T103" fmla="*/ 782 h 2050"/>
                <a:gd name="T104" fmla="*/ 460 w 8720"/>
                <a:gd name="T105" fmla="*/ 1242 h 2050"/>
                <a:gd name="T106" fmla="*/ 783 w 8720"/>
                <a:gd name="T107" fmla="*/ 1573 h 2050"/>
                <a:gd name="T108" fmla="*/ 1246 w 8720"/>
                <a:gd name="T109" fmla="*/ 1632 h 2050"/>
                <a:gd name="T110" fmla="*/ 745 w 8720"/>
                <a:gd name="T111" fmla="*/ 1453 h 2050"/>
                <a:gd name="T112" fmla="*/ 1347 w 8720"/>
                <a:gd name="T113" fmla="*/ 1509 h 2050"/>
                <a:gd name="T114" fmla="*/ 1693 w 8720"/>
                <a:gd name="T115" fmla="*/ 1099 h 2050"/>
                <a:gd name="T116" fmla="*/ 1523 w 8720"/>
                <a:gd name="T117" fmla="*/ 505 h 2050"/>
                <a:gd name="T118" fmla="*/ 1152 w 8720"/>
                <a:gd name="T119" fmla="*/ 342 h 2050"/>
                <a:gd name="T120" fmla="*/ 691 w 8720"/>
                <a:gd name="T121" fmla="*/ 497 h 2050"/>
                <a:gd name="T122" fmla="*/ 491 w 8720"/>
                <a:gd name="T123" fmla="*/ 10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20" h="2050">
                  <a:moveTo>
                    <a:pt x="3554" y="1338"/>
                  </a:moveTo>
                  <a:lnTo>
                    <a:pt x="3553" y="1299"/>
                  </a:lnTo>
                  <a:lnTo>
                    <a:pt x="3550" y="1263"/>
                  </a:lnTo>
                  <a:lnTo>
                    <a:pt x="3546" y="1228"/>
                  </a:lnTo>
                  <a:lnTo>
                    <a:pt x="3538" y="1196"/>
                  </a:lnTo>
                  <a:lnTo>
                    <a:pt x="3529" y="1165"/>
                  </a:lnTo>
                  <a:lnTo>
                    <a:pt x="3518" y="1137"/>
                  </a:lnTo>
                  <a:lnTo>
                    <a:pt x="3511" y="1124"/>
                  </a:lnTo>
                  <a:lnTo>
                    <a:pt x="3504" y="1112"/>
                  </a:lnTo>
                  <a:lnTo>
                    <a:pt x="3490" y="1088"/>
                  </a:lnTo>
                  <a:lnTo>
                    <a:pt x="3473" y="1068"/>
                  </a:lnTo>
                  <a:lnTo>
                    <a:pt x="3454" y="1049"/>
                  </a:lnTo>
                  <a:lnTo>
                    <a:pt x="3436" y="1034"/>
                  </a:lnTo>
                  <a:lnTo>
                    <a:pt x="3413" y="1022"/>
                  </a:lnTo>
                  <a:lnTo>
                    <a:pt x="3390" y="1012"/>
                  </a:lnTo>
                  <a:lnTo>
                    <a:pt x="3366" y="1004"/>
                  </a:lnTo>
                  <a:lnTo>
                    <a:pt x="3339" y="1000"/>
                  </a:lnTo>
                  <a:lnTo>
                    <a:pt x="3311" y="998"/>
                  </a:lnTo>
                  <a:lnTo>
                    <a:pt x="3283" y="1000"/>
                  </a:lnTo>
                  <a:lnTo>
                    <a:pt x="3257" y="1004"/>
                  </a:lnTo>
                  <a:lnTo>
                    <a:pt x="3232" y="1012"/>
                  </a:lnTo>
                  <a:lnTo>
                    <a:pt x="3209" y="1022"/>
                  </a:lnTo>
                  <a:lnTo>
                    <a:pt x="3187" y="1035"/>
                  </a:lnTo>
                  <a:lnTo>
                    <a:pt x="3166" y="1051"/>
                  </a:lnTo>
                  <a:lnTo>
                    <a:pt x="3148" y="1069"/>
                  </a:lnTo>
                  <a:lnTo>
                    <a:pt x="3130" y="1091"/>
                  </a:lnTo>
                  <a:lnTo>
                    <a:pt x="3116" y="1114"/>
                  </a:lnTo>
                  <a:lnTo>
                    <a:pt x="3102" y="1139"/>
                  </a:lnTo>
                  <a:lnTo>
                    <a:pt x="3090" y="1167"/>
                  </a:lnTo>
                  <a:lnTo>
                    <a:pt x="3081" y="1197"/>
                  </a:lnTo>
                  <a:lnTo>
                    <a:pt x="3073" y="1228"/>
                  </a:lnTo>
                  <a:lnTo>
                    <a:pt x="3068" y="1263"/>
                  </a:lnTo>
                  <a:lnTo>
                    <a:pt x="3065" y="1298"/>
                  </a:lnTo>
                  <a:lnTo>
                    <a:pt x="3063" y="1336"/>
                  </a:lnTo>
                  <a:lnTo>
                    <a:pt x="3065" y="1374"/>
                  </a:lnTo>
                  <a:lnTo>
                    <a:pt x="3068" y="1409"/>
                  </a:lnTo>
                  <a:lnTo>
                    <a:pt x="3073" y="1444"/>
                  </a:lnTo>
                  <a:lnTo>
                    <a:pt x="3081" y="1477"/>
                  </a:lnTo>
                  <a:lnTo>
                    <a:pt x="3091" y="1507"/>
                  </a:lnTo>
                  <a:lnTo>
                    <a:pt x="3102" y="1536"/>
                  </a:lnTo>
                  <a:lnTo>
                    <a:pt x="3117" y="1562"/>
                  </a:lnTo>
                  <a:lnTo>
                    <a:pt x="3132" y="1586"/>
                  </a:lnTo>
                  <a:lnTo>
                    <a:pt x="3149" y="1607"/>
                  </a:lnTo>
                  <a:lnTo>
                    <a:pt x="3169" y="1626"/>
                  </a:lnTo>
                  <a:lnTo>
                    <a:pt x="3189" y="1643"/>
                  </a:lnTo>
                  <a:lnTo>
                    <a:pt x="3211" y="1656"/>
                  </a:lnTo>
                  <a:lnTo>
                    <a:pt x="3236" y="1667"/>
                  </a:lnTo>
                  <a:lnTo>
                    <a:pt x="3261" y="1675"/>
                  </a:lnTo>
                  <a:lnTo>
                    <a:pt x="3288" y="1679"/>
                  </a:lnTo>
                  <a:lnTo>
                    <a:pt x="3317" y="1680"/>
                  </a:lnTo>
                  <a:lnTo>
                    <a:pt x="3343" y="1679"/>
                  </a:lnTo>
                  <a:lnTo>
                    <a:pt x="3369" y="1675"/>
                  </a:lnTo>
                  <a:lnTo>
                    <a:pt x="3393" y="1667"/>
                  </a:lnTo>
                  <a:lnTo>
                    <a:pt x="3417" y="1657"/>
                  </a:lnTo>
                  <a:lnTo>
                    <a:pt x="3438" y="1644"/>
                  </a:lnTo>
                  <a:lnTo>
                    <a:pt x="3458" y="1628"/>
                  </a:lnTo>
                  <a:lnTo>
                    <a:pt x="3476" y="1609"/>
                  </a:lnTo>
                  <a:lnTo>
                    <a:pt x="3491" y="1588"/>
                  </a:lnTo>
                  <a:lnTo>
                    <a:pt x="3506" y="1565"/>
                  </a:lnTo>
                  <a:lnTo>
                    <a:pt x="3519" y="1539"/>
                  </a:lnTo>
                  <a:lnTo>
                    <a:pt x="3529" y="1512"/>
                  </a:lnTo>
                  <a:lnTo>
                    <a:pt x="3538" y="1480"/>
                  </a:lnTo>
                  <a:lnTo>
                    <a:pt x="3546" y="1448"/>
                  </a:lnTo>
                  <a:lnTo>
                    <a:pt x="3550" y="1414"/>
                  </a:lnTo>
                  <a:lnTo>
                    <a:pt x="3553" y="1377"/>
                  </a:lnTo>
                  <a:lnTo>
                    <a:pt x="3554" y="1338"/>
                  </a:lnTo>
                  <a:close/>
                  <a:moveTo>
                    <a:pt x="3897" y="1340"/>
                  </a:moveTo>
                  <a:lnTo>
                    <a:pt x="3893" y="1408"/>
                  </a:lnTo>
                  <a:lnTo>
                    <a:pt x="3885" y="1474"/>
                  </a:lnTo>
                  <a:lnTo>
                    <a:pt x="3880" y="1505"/>
                  </a:lnTo>
                  <a:lnTo>
                    <a:pt x="3872" y="1536"/>
                  </a:lnTo>
                  <a:lnTo>
                    <a:pt x="3863" y="1565"/>
                  </a:lnTo>
                  <a:lnTo>
                    <a:pt x="3853" y="1595"/>
                  </a:lnTo>
                  <a:lnTo>
                    <a:pt x="3843" y="1623"/>
                  </a:lnTo>
                  <a:lnTo>
                    <a:pt x="3831" y="1649"/>
                  </a:lnTo>
                  <a:lnTo>
                    <a:pt x="3803" y="1701"/>
                  </a:lnTo>
                  <a:lnTo>
                    <a:pt x="3771" y="1749"/>
                  </a:lnTo>
                  <a:lnTo>
                    <a:pt x="3753" y="1773"/>
                  </a:lnTo>
                  <a:lnTo>
                    <a:pt x="3734" y="1794"/>
                  </a:lnTo>
                  <a:lnTo>
                    <a:pt x="3716" y="1814"/>
                  </a:lnTo>
                  <a:lnTo>
                    <a:pt x="3694" y="1834"/>
                  </a:lnTo>
                  <a:lnTo>
                    <a:pt x="3650" y="1868"/>
                  </a:lnTo>
                  <a:lnTo>
                    <a:pt x="3627" y="1884"/>
                  </a:lnTo>
                  <a:lnTo>
                    <a:pt x="3603" y="1898"/>
                  </a:lnTo>
                  <a:lnTo>
                    <a:pt x="3552" y="1924"/>
                  </a:lnTo>
                  <a:lnTo>
                    <a:pt x="3526" y="1935"/>
                  </a:lnTo>
                  <a:lnTo>
                    <a:pt x="3498" y="1944"/>
                  </a:lnTo>
                  <a:lnTo>
                    <a:pt x="3470" y="1951"/>
                  </a:lnTo>
                  <a:lnTo>
                    <a:pt x="3441" y="1958"/>
                  </a:lnTo>
                  <a:lnTo>
                    <a:pt x="3411" y="1964"/>
                  </a:lnTo>
                  <a:lnTo>
                    <a:pt x="3381" y="1967"/>
                  </a:lnTo>
                  <a:lnTo>
                    <a:pt x="3319" y="1970"/>
                  </a:lnTo>
                  <a:lnTo>
                    <a:pt x="3285" y="1969"/>
                  </a:lnTo>
                  <a:lnTo>
                    <a:pt x="3252" y="1967"/>
                  </a:lnTo>
                  <a:lnTo>
                    <a:pt x="3220" y="1964"/>
                  </a:lnTo>
                  <a:lnTo>
                    <a:pt x="3188" y="1959"/>
                  </a:lnTo>
                  <a:lnTo>
                    <a:pt x="3158" y="1953"/>
                  </a:lnTo>
                  <a:lnTo>
                    <a:pt x="3128" y="1945"/>
                  </a:lnTo>
                  <a:lnTo>
                    <a:pt x="3071" y="1926"/>
                  </a:lnTo>
                  <a:lnTo>
                    <a:pt x="3018" y="1901"/>
                  </a:lnTo>
                  <a:lnTo>
                    <a:pt x="2993" y="1887"/>
                  </a:lnTo>
                  <a:lnTo>
                    <a:pt x="2969" y="1871"/>
                  </a:lnTo>
                  <a:lnTo>
                    <a:pt x="2924" y="1837"/>
                  </a:lnTo>
                  <a:lnTo>
                    <a:pt x="2882" y="1798"/>
                  </a:lnTo>
                  <a:lnTo>
                    <a:pt x="2864" y="1777"/>
                  </a:lnTo>
                  <a:lnTo>
                    <a:pt x="2846" y="1755"/>
                  </a:lnTo>
                  <a:lnTo>
                    <a:pt x="2814" y="1707"/>
                  </a:lnTo>
                  <a:lnTo>
                    <a:pt x="2786" y="1655"/>
                  </a:lnTo>
                  <a:lnTo>
                    <a:pt x="2775" y="1627"/>
                  </a:lnTo>
                  <a:lnTo>
                    <a:pt x="2764" y="1598"/>
                  </a:lnTo>
                  <a:lnTo>
                    <a:pt x="2754" y="1569"/>
                  </a:lnTo>
                  <a:lnTo>
                    <a:pt x="2746" y="1538"/>
                  </a:lnTo>
                  <a:lnTo>
                    <a:pt x="2738" y="1507"/>
                  </a:lnTo>
                  <a:lnTo>
                    <a:pt x="2732" y="1474"/>
                  </a:lnTo>
                  <a:lnTo>
                    <a:pt x="2728" y="1440"/>
                  </a:lnTo>
                  <a:lnTo>
                    <a:pt x="2725" y="1407"/>
                  </a:lnTo>
                  <a:lnTo>
                    <a:pt x="2722" y="1372"/>
                  </a:lnTo>
                  <a:lnTo>
                    <a:pt x="2721" y="1336"/>
                  </a:lnTo>
                  <a:lnTo>
                    <a:pt x="2725" y="1271"/>
                  </a:lnTo>
                  <a:lnTo>
                    <a:pt x="2732" y="1207"/>
                  </a:lnTo>
                  <a:lnTo>
                    <a:pt x="2738" y="1177"/>
                  </a:lnTo>
                  <a:lnTo>
                    <a:pt x="2746" y="1147"/>
                  </a:lnTo>
                  <a:lnTo>
                    <a:pt x="2764" y="1089"/>
                  </a:lnTo>
                  <a:lnTo>
                    <a:pt x="2775" y="1062"/>
                  </a:lnTo>
                  <a:lnTo>
                    <a:pt x="2787" y="1035"/>
                  </a:lnTo>
                  <a:lnTo>
                    <a:pt x="2815" y="983"/>
                  </a:lnTo>
                  <a:lnTo>
                    <a:pt x="2847" y="936"/>
                  </a:lnTo>
                  <a:lnTo>
                    <a:pt x="2865" y="913"/>
                  </a:lnTo>
                  <a:lnTo>
                    <a:pt x="2884" y="892"/>
                  </a:lnTo>
                  <a:lnTo>
                    <a:pt x="2925" y="852"/>
                  </a:lnTo>
                  <a:lnTo>
                    <a:pt x="2969" y="817"/>
                  </a:lnTo>
                  <a:lnTo>
                    <a:pt x="3018" y="786"/>
                  </a:lnTo>
                  <a:lnTo>
                    <a:pt x="3070" y="761"/>
                  </a:lnTo>
                  <a:lnTo>
                    <a:pt x="3098" y="750"/>
                  </a:lnTo>
                  <a:lnTo>
                    <a:pt x="3126" y="741"/>
                  </a:lnTo>
                  <a:lnTo>
                    <a:pt x="3155" y="732"/>
                  </a:lnTo>
                  <a:lnTo>
                    <a:pt x="3185" y="725"/>
                  </a:lnTo>
                  <a:lnTo>
                    <a:pt x="3216" y="721"/>
                  </a:lnTo>
                  <a:lnTo>
                    <a:pt x="3247" y="716"/>
                  </a:lnTo>
                  <a:lnTo>
                    <a:pt x="3311" y="713"/>
                  </a:lnTo>
                  <a:lnTo>
                    <a:pt x="3379" y="716"/>
                  </a:lnTo>
                  <a:lnTo>
                    <a:pt x="3411" y="720"/>
                  </a:lnTo>
                  <a:lnTo>
                    <a:pt x="3443" y="725"/>
                  </a:lnTo>
                  <a:lnTo>
                    <a:pt x="3503" y="740"/>
                  </a:lnTo>
                  <a:lnTo>
                    <a:pt x="3559" y="760"/>
                  </a:lnTo>
                  <a:lnTo>
                    <a:pt x="3586" y="772"/>
                  </a:lnTo>
                  <a:lnTo>
                    <a:pt x="3611" y="785"/>
                  </a:lnTo>
                  <a:lnTo>
                    <a:pt x="3636" y="800"/>
                  </a:lnTo>
                  <a:lnTo>
                    <a:pt x="3660" y="815"/>
                  </a:lnTo>
                  <a:lnTo>
                    <a:pt x="3703" y="851"/>
                  </a:lnTo>
                  <a:lnTo>
                    <a:pt x="3723" y="870"/>
                  </a:lnTo>
                  <a:lnTo>
                    <a:pt x="3743" y="890"/>
                  </a:lnTo>
                  <a:lnTo>
                    <a:pt x="3778" y="934"/>
                  </a:lnTo>
                  <a:lnTo>
                    <a:pt x="3809" y="982"/>
                  </a:lnTo>
                  <a:lnTo>
                    <a:pt x="3835" y="1033"/>
                  </a:lnTo>
                  <a:lnTo>
                    <a:pt x="3857" y="1088"/>
                  </a:lnTo>
                  <a:lnTo>
                    <a:pt x="3867" y="1117"/>
                  </a:lnTo>
                  <a:lnTo>
                    <a:pt x="3874" y="1147"/>
                  </a:lnTo>
                  <a:lnTo>
                    <a:pt x="3887" y="1208"/>
                  </a:lnTo>
                  <a:lnTo>
                    <a:pt x="3894" y="1273"/>
                  </a:lnTo>
                  <a:lnTo>
                    <a:pt x="3897" y="1340"/>
                  </a:lnTo>
                  <a:close/>
                  <a:moveTo>
                    <a:pt x="4810" y="1073"/>
                  </a:moveTo>
                  <a:lnTo>
                    <a:pt x="4769" y="1056"/>
                  </a:lnTo>
                  <a:lnTo>
                    <a:pt x="4732" y="1045"/>
                  </a:lnTo>
                  <a:lnTo>
                    <a:pt x="4694" y="1039"/>
                  </a:lnTo>
                  <a:lnTo>
                    <a:pt x="4653" y="1038"/>
                  </a:lnTo>
                  <a:lnTo>
                    <a:pt x="4619" y="1039"/>
                  </a:lnTo>
                  <a:lnTo>
                    <a:pt x="4586" y="1045"/>
                  </a:lnTo>
                  <a:lnTo>
                    <a:pt x="4555" y="1053"/>
                  </a:lnTo>
                  <a:lnTo>
                    <a:pt x="4526" y="1064"/>
                  </a:lnTo>
                  <a:lnTo>
                    <a:pt x="4501" y="1078"/>
                  </a:lnTo>
                  <a:lnTo>
                    <a:pt x="4476" y="1095"/>
                  </a:lnTo>
                  <a:lnTo>
                    <a:pt x="4453" y="1115"/>
                  </a:lnTo>
                  <a:lnTo>
                    <a:pt x="4433" y="1137"/>
                  </a:lnTo>
                  <a:lnTo>
                    <a:pt x="4415" y="1163"/>
                  </a:lnTo>
                  <a:lnTo>
                    <a:pt x="4400" y="1191"/>
                  </a:lnTo>
                  <a:lnTo>
                    <a:pt x="4386" y="1222"/>
                  </a:lnTo>
                  <a:lnTo>
                    <a:pt x="4375" y="1254"/>
                  </a:lnTo>
                  <a:lnTo>
                    <a:pt x="4366" y="1289"/>
                  </a:lnTo>
                  <a:lnTo>
                    <a:pt x="4361" y="1327"/>
                  </a:lnTo>
                  <a:lnTo>
                    <a:pt x="4356" y="1367"/>
                  </a:lnTo>
                  <a:lnTo>
                    <a:pt x="4355" y="1408"/>
                  </a:lnTo>
                  <a:lnTo>
                    <a:pt x="4355" y="1938"/>
                  </a:lnTo>
                  <a:lnTo>
                    <a:pt x="4017" y="1938"/>
                  </a:lnTo>
                  <a:lnTo>
                    <a:pt x="4017" y="1342"/>
                  </a:lnTo>
                  <a:lnTo>
                    <a:pt x="4017" y="746"/>
                  </a:lnTo>
                  <a:lnTo>
                    <a:pt x="4343" y="746"/>
                  </a:lnTo>
                  <a:lnTo>
                    <a:pt x="4343" y="1017"/>
                  </a:lnTo>
                  <a:lnTo>
                    <a:pt x="4352" y="984"/>
                  </a:lnTo>
                  <a:lnTo>
                    <a:pt x="4363" y="953"/>
                  </a:lnTo>
                  <a:lnTo>
                    <a:pt x="4375" y="923"/>
                  </a:lnTo>
                  <a:lnTo>
                    <a:pt x="4391" y="895"/>
                  </a:lnTo>
                  <a:lnTo>
                    <a:pt x="4408" y="870"/>
                  </a:lnTo>
                  <a:lnTo>
                    <a:pt x="4425" y="846"/>
                  </a:lnTo>
                  <a:lnTo>
                    <a:pt x="4446" y="824"/>
                  </a:lnTo>
                  <a:lnTo>
                    <a:pt x="4468" y="805"/>
                  </a:lnTo>
                  <a:lnTo>
                    <a:pt x="4492" y="787"/>
                  </a:lnTo>
                  <a:lnTo>
                    <a:pt x="4517" y="772"/>
                  </a:lnTo>
                  <a:lnTo>
                    <a:pt x="4544" y="758"/>
                  </a:lnTo>
                  <a:lnTo>
                    <a:pt x="4573" y="748"/>
                  </a:lnTo>
                  <a:lnTo>
                    <a:pt x="4603" y="740"/>
                  </a:lnTo>
                  <a:lnTo>
                    <a:pt x="4635" y="734"/>
                  </a:lnTo>
                  <a:lnTo>
                    <a:pt x="4669" y="730"/>
                  </a:lnTo>
                  <a:lnTo>
                    <a:pt x="4703" y="728"/>
                  </a:lnTo>
                  <a:lnTo>
                    <a:pt x="4753" y="732"/>
                  </a:lnTo>
                  <a:lnTo>
                    <a:pt x="4810" y="741"/>
                  </a:lnTo>
                  <a:lnTo>
                    <a:pt x="4810" y="1073"/>
                  </a:lnTo>
                  <a:close/>
                  <a:moveTo>
                    <a:pt x="5598" y="1938"/>
                  </a:moveTo>
                  <a:lnTo>
                    <a:pt x="5598" y="1670"/>
                  </a:lnTo>
                  <a:lnTo>
                    <a:pt x="5561" y="1678"/>
                  </a:lnTo>
                  <a:lnTo>
                    <a:pt x="5526" y="1683"/>
                  </a:lnTo>
                  <a:lnTo>
                    <a:pt x="5494" y="1685"/>
                  </a:lnTo>
                  <a:lnTo>
                    <a:pt x="5458" y="1686"/>
                  </a:lnTo>
                  <a:lnTo>
                    <a:pt x="5432" y="1685"/>
                  </a:lnTo>
                  <a:lnTo>
                    <a:pt x="5406" y="1683"/>
                  </a:lnTo>
                  <a:lnTo>
                    <a:pt x="5384" y="1679"/>
                  </a:lnTo>
                  <a:lnTo>
                    <a:pt x="5364" y="1674"/>
                  </a:lnTo>
                  <a:lnTo>
                    <a:pt x="5345" y="1667"/>
                  </a:lnTo>
                  <a:lnTo>
                    <a:pt x="5328" y="1658"/>
                  </a:lnTo>
                  <a:lnTo>
                    <a:pt x="5314" y="1648"/>
                  </a:lnTo>
                  <a:lnTo>
                    <a:pt x="5302" y="1636"/>
                  </a:lnTo>
                  <a:lnTo>
                    <a:pt x="5292" y="1622"/>
                  </a:lnTo>
                  <a:lnTo>
                    <a:pt x="5282" y="1605"/>
                  </a:lnTo>
                  <a:lnTo>
                    <a:pt x="5275" y="1587"/>
                  </a:lnTo>
                  <a:lnTo>
                    <a:pt x="5268" y="1566"/>
                  </a:lnTo>
                  <a:lnTo>
                    <a:pt x="5262" y="1517"/>
                  </a:lnTo>
                  <a:lnTo>
                    <a:pt x="5258" y="1459"/>
                  </a:lnTo>
                  <a:lnTo>
                    <a:pt x="5258" y="1026"/>
                  </a:lnTo>
                  <a:lnTo>
                    <a:pt x="5583" y="1026"/>
                  </a:lnTo>
                  <a:lnTo>
                    <a:pt x="5583" y="755"/>
                  </a:lnTo>
                  <a:lnTo>
                    <a:pt x="5258" y="755"/>
                  </a:lnTo>
                  <a:lnTo>
                    <a:pt x="5258" y="365"/>
                  </a:lnTo>
                  <a:lnTo>
                    <a:pt x="4920" y="556"/>
                  </a:lnTo>
                  <a:lnTo>
                    <a:pt x="4920" y="1037"/>
                  </a:lnTo>
                  <a:lnTo>
                    <a:pt x="4920" y="1519"/>
                  </a:lnTo>
                  <a:lnTo>
                    <a:pt x="4921" y="1575"/>
                  </a:lnTo>
                  <a:lnTo>
                    <a:pt x="4926" y="1627"/>
                  </a:lnTo>
                  <a:lnTo>
                    <a:pt x="4935" y="1674"/>
                  </a:lnTo>
                  <a:lnTo>
                    <a:pt x="4946" y="1718"/>
                  </a:lnTo>
                  <a:lnTo>
                    <a:pt x="4962" y="1758"/>
                  </a:lnTo>
                  <a:lnTo>
                    <a:pt x="4981" y="1794"/>
                  </a:lnTo>
                  <a:lnTo>
                    <a:pt x="5003" y="1826"/>
                  </a:lnTo>
                  <a:lnTo>
                    <a:pt x="5030" y="1855"/>
                  </a:lnTo>
                  <a:lnTo>
                    <a:pt x="5044" y="1868"/>
                  </a:lnTo>
                  <a:lnTo>
                    <a:pt x="5060" y="1880"/>
                  </a:lnTo>
                  <a:lnTo>
                    <a:pt x="5093" y="1901"/>
                  </a:lnTo>
                  <a:lnTo>
                    <a:pt x="5130" y="1920"/>
                  </a:lnTo>
                  <a:lnTo>
                    <a:pt x="5171" y="1935"/>
                  </a:lnTo>
                  <a:lnTo>
                    <a:pt x="5216" y="1946"/>
                  </a:lnTo>
                  <a:lnTo>
                    <a:pt x="5265" y="1954"/>
                  </a:lnTo>
                  <a:lnTo>
                    <a:pt x="5317" y="1959"/>
                  </a:lnTo>
                  <a:lnTo>
                    <a:pt x="5374" y="1960"/>
                  </a:lnTo>
                  <a:lnTo>
                    <a:pt x="5431" y="1959"/>
                  </a:lnTo>
                  <a:lnTo>
                    <a:pt x="5484" y="1956"/>
                  </a:lnTo>
                  <a:lnTo>
                    <a:pt x="5538" y="1949"/>
                  </a:lnTo>
                  <a:lnTo>
                    <a:pt x="5598" y="1938"/>
                  </a:lnTo>
                  <a:close/>
                  <a:moveTo>
                    <a:pt x="6796" y="1358"/>
                  </a:moveTo>
                  <a:lnTo>
                    <a:pt x="6796" y="746"/>
                  </a:lnTo>
                  <a:lnTo>
                    <a:pt x="6457" y="746"/>
                  </a:lnTo>
                  <a:lnTo>
                    <a:pt x="6457" y="1358"/>
                  </a:lnTo>
                  <a:lnTo>
                    <a:pt x="6455" y="1440"/>
                  </a:lnTo>
                  <a:lnTo>
                    <a:pt x="6451" y="1476"/>
                  </a:lnTo>
                  <a:lnTo>
                    <a:pt x="6447" y="1508"/>
                  </a:lnTo>
                  <a:lnTo>
                    <a:pt x="6441" y="1538"/>
                  </a:lnTo>
                  <a:lnTo>
                    <a:pt x="6435" y="1564"/>
                  </a:lnTo>
                  <a:lnTo>
                    <a:pt x="6426" y="1587"/>
                  </a:lnTo>
                  <a:lnTo>
                    <a:pt x="6415" y="1607"/>
                  </a:lnTo>
                  <a:lnTo>
                    <a:pt x="6402" y="1624"/>
                  </a:lnTo>
                  <a:lnTo>
                    <a:pt x="6388" y="1639"/>
                  </a:lnTo>
                  <a:lnTo>
                    <a:pt x="6373" y="1650"/>
                  </a:lnTo>
                  <a:lnTo>
                    <a:pt x="6355" y="1660"/>
                  </a:lnTo>
                  <a:lnTo>
                    <a:pt x="6334" y="1668"/>
                  </a:lnTo>
                  <a:lnTo>
                    <a:pt x="6311" y="1673"/>
                  </a:lnTo>
                  <a:lnTo>
                    <a:pt x="6287" y="1676"/>
                  </a:lnTo>
                  <a:lnTo>
                    <a:pt x="6259" y="1677"/>
                  </a:lnTo>
                  <a:lnTo>
                    <a:pt x="6231" y="1676"/>
                  </a:lnTo>
                  <a:lnTo>
                    <a:pt x="6206" y="1673"/>
                  </a:lnTo>
                  <a:lnTo>
                    <a:pt x="6181" y="1668"/>
                  </a:lnTo>
                  <a:lnTo>
                    <a:pt x="6160" y="1660"/>
                  </a:lnTo>
                  <a:lnTo>
                    <a:pt x="6141" y="1652"/>
                  </a:lnTo>
                  <a:lnTo>
                    <a:pt x="6124" y="1640"/>
                  </a:lnTo>
                  <a:lnTo>
                    <a:pt x="6109" y="1626"/>
                  </a:lnTo>
                  <a:lnTo>
                    <a:pt x="6096" y="1609"/>
                  </a:lnTo>
                  <a:lnTo>
                    <a:pt x="6085" y="1590"/>
                  </a:lnTo>
                  <a:lnTo>
                    <a:pt x="6075" y="1569"/>
                  </a:lnTo>
                  <a:lnTo>
                    <a:pt x="6067" y="1545"/>
                  </a:lnTo>
                  <a:lnTo>
                    <a:pt x="6060" y="1517"/>
                  </a:lnTo>
                  <a:lnTo>
                    <a:pt x="6056" y="1487"/>
                  </a:lnTo>
                  <a:lnTo>
                    <a:pt x="6053" y="1454"/>
                  </a:lnTo>
                  <a:lnTo>
                    <a:pt x="6050" y="1417"/>
                  </a:lnTo>
                  <a:lnTo>
                    <a:pt x="6049" y="1378"/>
                  </a:lnTo>
                  <a:lnTo>
                    <a:pt x="6049" y="746"/>
                  </a:lnTo>
                  <a:lnTo>
                    <a:pt x="5710" y="746"/>
                  </a:lnTo>
                  <a:lnTo>
                    <a:pt x="5710" y="1373"/>
                  </a:lnTo>
                  <a:lnTo>
                    <a:pt x="5713" y="1465"/>
                  </a:lnTo>
                  <a:lnTo>
                    <a:pt x="5715" y="1505"/>
                  </a:lnTo>
                  <a:lnTo>
                    <a:pt x="5718" y="1544"/>
                  </a:lnTo>
                  <a:lnTo>
                    <a:pt x="5729" y="1612"/>
                  </a:lnTo>
                  <a:lnTo>
                    <a:pt x="5737" y="1643"/>
                  </a:lnTo>
                  <a:lnTo>
                    <a:pt x="5746" y="1671"/>
                  </a:lnTo>
                  <a:lnTo>
                    <a:pt x="5756" y="1698"/>
                  </a:lnTo>
                  <a:lnTo>
                    <a:pt x="5768" y="1723"/>
                  </a:lnTo>
                  <a:lnTo>
                    <a:pt x="5780" y="1747"/>
                  </a:lnTo>
                  <a:lnTo>
                    <a:pt x="5796" y="1769"/>
                  </a:lnTo>
                  <a:lnTo>
                    <a:pt x="5812" y="1790"/>
                  </a:lnTo>
                  <a:lnTo>
                    <a:pt x="5830" y="1810"/>
                  </a:lnTo>
                  <a:lnTo>
                    <a:pt x="5849" y="1829"/>
                  </a:lnTo>
                  <a:lnTo>
                    <a:pt x="5872" y="1848"/>
                  </a:lnTo>
                  <a:lnTo>
                    <a:pt x="5889" y="1863"/>
                  </a:lnTo>
                  <a:lnTo>
                    <a:pt x="5908" y="1876"/>
                  </a:lnTo>
                  <a:lnTo>
                    <a:pt x="5928" y="1888"/>
                  </a:lnTo>
                  <a:lnTo>
                    <a:pt x="5949" y="1899"/>
                  </a:lnTo>
                  <a:lnTo>
                    <a:pt x="5972" y="1909"/>
                  </a:lnTo>
                  <a:lnTo>
                    <a:pt x="5994" y="1919"/>
                  </a:lnTo>
                  <a:lnTo>
                    <a:pt x="6040" y="1936"/>
                  </a:lnTo>
                  <a:lnTo>
                    <a:pt x="6091" y="1949"/>
                  </a:lnTo>
                  <a:lnTo>
                    <a:pt x="6144" y="1958"/>
                  </a:lnTo>
                  <a:lnTo>
                    <a:pt x="6199" y="1964"/>
                  </a:lnTo>
                  <a:lnTo>
                    <a:pt x="6257" y="1966"/>
                  </a:lnTo>
                  <a:lnTo>
                    <a:pt x="6325" y="1963"/>
                  </a:lnTo>
                  <a:lnTo>
                    <a:pt x="6388" y="1955"/>
                  </a:lnTo>
                  <a:lnTo>
                    <a:pt x="6419" y="1948"/>
                  </a:lnTo>
                  <a:lnTo>
                    <a:pt x="6448" y="1940"/>
                  </a:lnTo>
                  <a:lnTo>
                    <a:pt x="6505" y="1921"/>
                  </a:lnTo>
                  <a:lnTo>
                    <a:pt x="6531" y="1910"/>
                  </a:lnTo>
                  <a:lnTo>
                    <a:pt x="6557" y="1898"/>
                  </a:lnTo>
                  <a:lnTo>
                    <a:pt x="6605" y="1869"/>
                  </a:lnTo>
                  <a:lnTo>
                    <a:pt x="6626" y="1853"/>
                  </a:lnTo>
                  <a:lnTo>
                    <a:pt x="6647" y="1835"/>
                  </a:lnTo>
                  <a:lnTo>
                    <a:pt x="6667" y="1816"/>
                  </a:lnTo>
                  <a:lnTo>
                    <a:pt x="6685" y="1796"/>
                  </a:lnTo>
                  <a:lnTo>
                    <a:pt x="6699" y="1779"/>
                  </a:lnTo>
                  <a:lnTo>
                    <a:pt x="6712" y="1760"/>
                  </a:lnTo>
                  <a:lnTo>
                    <a:pt x="6735" y="1721"/>
                  </a:lnTo>
                  <a:lnTo>
                    <a:pt x="6755" y="1678"/>
                  </a:lnTo>
                  <a:lnTo>
                    <a:pt x="6769" y="1628"/>
                  </a:lnTo>
                  <a:lnTo>
                    <a:pt x="6781" y="1573"/>
                  </a:lnTo>
                  <a:lnTo>
                    <a:pt x="6786" y="1542"/>
                  </a:lnTo>
                  <a:lnTo>
                    <a:pt x="6790" y="1509"/>
                  </a:lnTo>
                  <a:lnTo>
                    <a:pt x="6795" y="1438"/>
                  </a:lnTo>
                  <a:lnTo>
                    <a:pt x="6796" y="1358"/>
                  </a:lnTo>
                  <a:close/>
                  <a:moveTo>
                    <a:pt x="8720" y="1938"/>
                  </a:moveTo>
                  <a:lnTo>
                    <a:pt x="8720" y="1254"/>
                  </a:lnTo>
                  <a:lnTo>
                    <a:pt x="8718" y="1185"/>
                  </a:lnTo>
                  <a:lnTo>
                    <a:pt x="8716" y="1124"/>
                  </a:lnTo>
                  <a:lnTo>
                    <a:pt x="8712" y="1072"/>
                  </a:lnTo>
                  <a:lnTo>
                    <a:pt x="8706" y="1025"/>
                  </a:lnTo>
                  <a:lnTo>
                    <a:pt x="8698" y="985"/>
                  </a:lnTo>
                  <a:lnTo>
                    <a:pt x="8688" y="950"/>
                  </a:lnTo>
                  <a:lnTo>
                    <a:pt x="8676" y="918"/>
                  </a:lnTo>
                  <a:lnTo>
                    <a:pt x="8662" y="891"/>
                  </a:lnTo>
                  <a:lnTo>
                    <a:pt x="8650" y="871"/>
                  </a:lnTo>
                  <a:lnTo>
                    <a:pt x="8636" y="853"/>
                  </a:lnTo>
                  <a:lnTo>
                    <a:pt x="8622" y="836"/>
                  </a:lnTo>
                  <a:lnTo>
                    <a:pt x="8605" y="820"/>
                  </a:lnTo>
                  <a:lnTo>
                    <a:pt x="8589" y="805"/>
                  </a:lnTo>
                  <a:lnTo>
                    <a:pt x="8570" y="791"/>
                  </a:lnTo>
                  <a:lnTo>
                    <a:pt x="8529" y="766"/>
                  </a:lnTo>
                  <a:lnTo>
                    <a:pt x="8506" y="756"/>
                  </a:lnTo>
                  <a:lnTo>
                    <a:pt x="8484" y="747"/>
                  </a:lnTo>
                  <a:lnTo>
                    <a:pt x="8436" y="733"/>
                  </a:lnTo>
                  <a:lnTo>
                    <a:pt x="8385" y="724"/>
                  </a:lnTo>
                  <a:lnTo>
                    <a:pt x="8332" y="721"/>
                  </a:lnTo>
                  <a:lnTo>
                    <a:pt x="8300" y="722"/>
                  </a:lnTo>
                  <a:lnTo>
                    <a:pt x="8269" y="725"/>
                  </a:lnTo>
                  <a:lnTo>
                    <a:pt x="8239" y="731"/>
                  </a:lnTo>
                  <a:lnTo>
                    <a:pt x="8210" y="737"/>
                  </a:lnTo>
                  <a:lnTo>
                    <a:pt x="8182" y="747"/>
                  </a:lnTo>
                  <a:lnTo>
                    <a:pt x="8155" y="758"/>
                  </a:lnTo>
                  <a:lnTo>
                    <a:pt x="8130" y="772"/>
                  </a:lnTo>
                  <a:lnTo>
                    <a:pt x="8106" y="788"/>
                  </a:lnTo>
                  <a:lnTo>
                    <a:pt x="8083" y="806"/>
                  </a:lnTo>
                  <a:lnTo>
                    <a:pt x="8061" y="827"/>
                  </a:lnTo>
                  <a:lnTo>
                    <a:pt x="8040" y="850"/>
                  </a:lnTo>
                  <a:lnTo>
                    <a:pt x="8021" y="874"/>
                  </a:lnTo>
                  <a:lnTo>
                    <a:pt x="8002" y="902"/>
                  </a:lnTo>
                  <a:lnTo>
                    <a:pt x="7984" y="931"/>
                  </a:lnTo>
                  <a:lnTo>
                    <a:pt x="7968" y="963"/>
                  </a:lnTo>
                  <a:lnTo>
                    <a:pt x="7951" y="997"/>
                  </a:lnTo>
                  <a:lnTo>
                    <a:pt x="7942" y="964"/>
                  </a:lnTo>
                  <a:lnTo>
                    <a:pt x="7932" y="933"/>
                  </a:lnTo>
                  <a:lnTo>
                    <a:pt x="7908" y="876"/>
                  </a:lnTo>
                  <a:lnTo>
                    <a:pt x="7893" y="852"/>
                  </a:lnTo>
                  <a:lnTo>
                    <a:pt x="7885" y="840"/>
                  </a:lnTo>
                  <a:lnTo>
                    <a:pt x="7877" y="828"/>
                  </a:lnTo>
                  <a:lnTo>
                    <a:pt x="7869" y="818"/>
                  </a:lnTo>
                  <a:lnTo>
                    <a:pt x="7859" y="808"/>
                  </a:lnTo>
                  <a:lnTo>
                    <a:pt x="7840" y="791"/>
                  </a:lnTo>
                  <a:lnTo>
                    <a:pt x="7820" y="774"/>
                  </a:lnTo>
                  <a:lnTo>
                    <a:pt x="7798" y="760"/>
                  </a:lnTo>
                  <a:lnTo>
                    <a:pt x="7773" y="748"/>
                  </a:lnTo>
                  <a:lnTo>
                    <a:pt x="7748" y="738"/>
                  </a:lnTo>
                  <a:lnTo>
                    <a:pt x="7721" y="731"/>
                  </a:lnTo>
                  <a:lnTo>
                    <a:pt x="7692" y="725"/>
                  </a:lnTo>
                  <a:lnTo>
                    <a:pt x="7662" y="722"/>
                  </a:lnTo>
                  <a:lnTo>
                    <a:pt x="7630" y="721"/>
                  </a:lnTo>
                  <a:lnTo>
                    <a:pt x="7598" y="722"/>
                  </a:lnTo>
                  <a:lnTo>
                    <a:pt x="7567" y="725"/>
                  </a:lnTo>
                  <a:lnTo>
                    <a:pt x="7537" y="730"/>
                  </a:lnTo>
                  <a:lnTo>
                    <a:pt x="7509" y="737"/>
                  </a:lnTo>
                  <a:lnTo>
                    <a:pt x="7481" y="746"/>
                  </a:lnTo>
                  <a:lnTo>
                    <a:pt x="7456" y="757"/>
                  </a:lnTo>
                  <a:lnTo>
                    <a:pt x="7431" y="771"/>
                  </a:lnTo>
                  <a:lnTo>
                    <a:pt x="7408" y="786"/>
                  </a:lnTo>
                  <a:lnTo>
                    <a:pt x="7386" y="804"/>
                  </a:lnTo>
                  <a:lnTo>
                    <a:pt x="7364" y="824"/>
                  </a:lnTo>
                  <a:lnTo>
                    <a:pt x="7344" y="846"/>
                  </a:lnTo>
                  <a:lnTo>
                    <a:pt x="7324" y="871"/>
                  </a:lnTo>
                  <a:lnTo>
                    <a:pt x="7307" y="896"/>
                  </a:lnTo>
                  <a:lnTo>
                    <a:pt x="7288" y="925"/>
                  </a:lnTo>
                  <a:lnTo>
                    <a:pt x="7270" y="956"/>
                  </a:lnTo>
                  <a:lnTo>
                    <a:pt x="7253" y="990"/>
                  </a:lnTo>
                  <a:lnTo>
                    <a:pt x="7253" y="746"/>
                  </a:lnTo>
                  <a:lnTo>
                    <a:pt x="6927" y="746"/>
                  </a:lnTo>
                  <a:lnTo>
                    <a:pt x="6927" y="1342"/>
                  </a:lnTo>
                  <a:lnTo>
                    <a:pt x="6927" y="1938"/>
                  </a:lnTo>
                  <a:lnTo>
                    <a:pt x="7266" y="1938"/>
                  </a:lnTo>
                  <a:lnTo>
                    <a:pt x="7266" y="1384"/>
                  </a:lnTo>
                  <a:lnTo>
                    <a:pt x="7267" y="1329"/>
                  </a:lnTo>
                  <a:lnTo>
                    <a:pt x="7270" y="1283"/>
                  </a:lnTo>
                  <a:lnTo>
                    <a:pt x="7276" y="1242"/>
                  </a:lnTo>
                  <a:lnTo>
                    <a:pt x="7283" y="1207"/>
                  </a:lnTo>
                  <a:lnTo>
                    <a:pt x="7290" y="1187"/>
                  </a:lnTo>
                  <a:lnTo>
                    <a:pt x="7297" y="1169"/>
                  </a:lnTo>
                  <a:lnTo>
                    <a:pt x="7314" y="1135"/>
                  </a:lnTo>
                  <a:lnTo>
                    <a:pt x="7323" y="1118"/>
                  </a:lnTo>
                  <a:lnTo>
                    <a:pt x="7334" y="1104"/>
                  </a:lnTo>
                  <a:lnTo>
                    <a:pt x="7359" y="1078"/>
                  </a:lnTo>
                  <a:lnTo>
                    <a:pt x="7386" y="1058"/>
                  </a:lnTo>
                  <a:lnTo>
                    <a:pt x="7416" y="1043"/>
                  </a:lnTo>
                  <a:lnTo>
                    <a:pt x="7431" y="1037"/>
                  </a:lnTo>
                  <a:lnTo>
                    <a:pt x="7447" y="1034"/>
                  </a:lnTo>
                  <a:lnTo>
                    <a:pt x="7481" y="1031"/>
                  </a:lnTo>
                  <a:lnTo>
                    <a:pt x="7506" y="1032"/>
                  </a:lnTo>
                  <a:lnTo>
                    <a:pt x="7530" y="1037"/>
                  </a:lnTo>
                  <a:lnTo>
                    <a:pt x="7551" y="1045"/>
                  </a:lnTo>
                  <a:lnTo>
                    <a:pt x="7570" y="1056"/>
                  </a:lnTo>
                  <a:lnTo>
                    <a:pt x="7588" y="1069"/>
                  </a:lnTo>
                  <a:lnTo>
                    <a:pt x="7602" y="1086"/>
                  </a:lnTo>
                  <a:lnTo>
                    <a:pt x="7615" y="1106"/>
                  </a:lnTo>
                  <a:lnTo>
                    <a:pt x="7621" y="1116"/>
                  </a:lnTo>
                  <a:lnTo>
                    <a:pt x="7625" y="1127"/>
                  </a:lnTo>
                  <a:lnTo>
                    <a:pt x="7638" y="1165"/>
                  </a:lnTo>
                  <a:lnTo>
                    <a:pt x="7645" y="1211"/>
                  </a:lnTo>
                  <a:lnTo>
                    <a:pt x="7650" y="1268"/>
                  </a:lnTo>
                  <a:lnTo>
                    <a:pt x="7651" y="1342"/>
                  </a:lnTo>
                  <a:lnTo>
                    <a:pt x="7651" y="1938"/>
                  </a:lnTo>
                  <a:lnTo>
                    <a:pt x="7993" y="1938"/>
                  </a:lnTo>
                  <a:lnTo>
                    <a:pt x="7993" y="1364"/>
                  </a:lnTo>
                  <a:lnTo>
                    <a:pt x="7993" y="1325"/>
                  </a:lnTo>
                  <a:lnTo>
                    <a:pt x="7996" y="1287"/>
                  </a:lnTo>
                  <a:lnTo>
                    <a:pt x="8000" y="1253"/>
                  </a:lnTo>
                  <a:lnTo>
                    <a:pt x="8006" y="1221"/>
                  </a:lnTo>
                  <a:lnTo>
                    <a:pt x="8014" y="1191"/>
                  </a:lnTo>
                  <a:lnTo>
                    <a:pt x="8023" y="1164"/>
                  </a:lnTo>
                  <a:lnTo>
                    <a:pt x="8034" y="1138"/>
                  </a:lnTo>
                  <a:lnTo>
                    <a:pt x="8046" y="1116"/>
                  </a:lnTo>
                  <a:lnTo>
                    <a:pt x="8061" y="1096"/>
                  </a:lnTo>
                  <a:lnTo>
                    <a:pt x="8078" y="1079"/>
                  </a:lnTo>
                  <a:lnTo>
                    <a:pt x="8095" y="1064"/>
                  </a:lnTo>
                  <a:lnTo>
                    <a:pt x="8114" y="1052"/>
                  </a:lnTo>
                  <a:lnTo>
                    <a:pt x="8135" y="1043"/>
                  </a:lnTo>
                  <a:lnTo>
                    <a:pt x="8158" y="1036"/>
                  </a:lnTo>
                  <a:lnTo>
                    <a:pt x="8182" y="1032"/>
                  </a:lnTo>
                  <a:lnTo>
                    <a:pt x="8208" y="1031"/>
                  </a:lnTo>
                  <a:lnTo>
                    <a:pt x="8238" y="1032"/>
                  </a:lnTo>
                  <a:lnTo>
                    <a:pt x="8264" y="1037"/>
                  </a:lnTo>
                  <a:lnTo>
                    <a:pt x="8289" y="1046"/>
                  </a:lnTo>
                  <a:lnTo>
                    <a:pt x="8310" y="1058"/>
                  </a:lnTo>
                  <a:lnTo>
                    <a:pt x="8320" y="1066"/>
                  </a:lnTo>
                  <a:lnTo>
                    <a:pt x="8329" y="1075"/>
                  </a:lnTo>
                  <a:lnTo>
                    <a:pt x="8336" y="1084"/>
                  </a:lnTo>
                  <a:lnTo>
                    <a:pt x="8343" y="1095"/>
                  </a:lnTo>
                  <a:lnTo>
                    <a:pt x="8356" y="1118"/>
                  </a:lnTo>
                  <a:lnTo>
                    <a:pt x="8365" y="1146"/>
                  </a:lnTo>
                  <a:lnTo>
                    <a:pt x="8370" y="1178"/>
                  </a:lnTo>
                  <a:lnTo>
                    <a:pt x="8374" y="1219"/>
                  </a:lnTo>
                  <a:lnTo>
                    <a:pt x="8376" y="1268"/>
                  </a:lnTo>
                  <a:lnTo>
                    <a:pt x="8377" y="1324"/>
                  </a:lnTo>
                  <a:lnTo>
                    <a:pt x="8377" y="1938"/>
                  </a:lnTo>
                  <a:lnTo>
                    <a:pt x="8720" y="1938"/>
                  </a:lnTo>
                  <a:close/>
                  <a:moveTo>
                    <a:pt x="2622" y="369"/>
                  </a:moveTo>
                  <a:lnTo>
                    <a:pt x="2584" y="372"/>
                  </a:lnTo>
                  <a:lnTo>
                    <a:pt x="2566" y="376"/>
                  </a:lnTo>
                  <a:lnTo>
                    <a:pt x="2549" y="382"/>
                  </a:lnTo>
                  <a:lnTo>
                    <a:pt x="2534" y="390"/>
                  </a:lnTo>
                  <a:lnTo>
                    <a:pt x="2519" y="399"/>
                  </a:lnTo>
                  <a:lnTo>
                    <a:pt x="2494" y="421"/>
                  </a:lnTo>
                  <a:lnTo>
                    <a:pt x="2483" y="434"/>
                  </a:lnTo>
                  <a:lnTo>
                    <a:pt x="2473" y="450"/>
                  </a:lnTo>
                  <a:lnTo>
                    <a:pt x="2465" y="465"/>
                  </a:lnTo>
                  <a:lnTo>
                    <a:pt x="2458" y="483"/>
                  </a:lnTo>
                  <a:lnTo>
                    <a:pt x="2453" y="502"/>
                  </a:lnTo>
                  <a:lnTo>
                    <a:pt x="2449" y="521"/>
                  </a:lnTo>
                  <a:lnTo>
                    <a:pt x="2446" y="542"/>
                  </a:lnTo>
                  <a:lnTo>
                    <a:pt x="2446" y="564"/>
                  </a:lnTo>
                  <a:lnTo>
                    <a:pt x="2446" y="757"/>
                  </a:lnTo>
                  <a:lnTo>
                    <a:pt x="2692" y="757"/>
                  </a:lnTo>
                  <a:lnTo>
                    <a:pt x="2692" y="1027"/>
                  </a:lnTo>
                  <a:lnTo>
                    <a:pt x="2446" y="1027"/>
                  </a:lnTo>
                  <a:lnTo>
                    <a:pt x="2446" y="1483"/>
                  </a:lnTo>
                  <a:lnTo>
                    <a:pt x="2446" y="1938"/>
                  </a:lnTo>
                  <a:lnTo>
                    <a:pt x="2107" y="1938"/>
                  </a:lnTo>
                  <a:lnTo>
                    <a:pt x="2107" y="1483"/>
                  </a:lnTo>
                  <a:lnTo>
                    <a:pt x="2107" y="1027"/>
                  </a:lnTo>
                  <a:lnTo>
                    <a:pt x="1950" y="1027"/>
                  </a:lnTo>
                  <a:lnTo>
                    <a:pt x="1950" y="757"/>
                  </a:lnTo>
                  <a:lnTo>
                    <a:pt x="2107" y="757"/>
                  </a:lnTo>
                  <a:lnTo>
                    <a:pt x="2107" y="595"/>
                  </a:lnTo>
                  <a:lnTo>
                    <a:pt x="2110" y="501"/>
                  </a:lnTo>
                  <a:lnTo>
                    <a:pt x="2115" y="454"/>
                  </a:lnTo>
                  <a:lnTo>
                    <a:pt x="2122" y="407"/>
                  </a:lnTo>
                  <a:lnTo>
                    <a:pt x="2126" y="385"/>
                  </a:lnTo>
                  <a:lnTo>
                    <a:pt x="2130" y="363"/>
                  </a:lnTo>
                  <a:lnTo>
                    <a:pt x="2144" y="320"/>
                  </a:lnTo>
                  <a:lnTo>
                    <a:pt x="2152" y="299"/>
                  </a:lnTo>
                  <a:lnTo>
                    <a:pt x="2160" y="278"/>
                  </a:lnTo>
                  <a:lnTo>
                    <a:pt x="2182" y="240"/>
                  </a:lnTo>
                  <a:lnTo>
                    <a:pt x="2207" y="203"/>
                  </a:lnTo>
                  <a:lnTo>
                    <a:pt x="2222" y="186"/>
                  </a:lnTo>
                  <a:lnTo>
                    <a:pt x="2238" y="171"/>
                  </a:lnTo>
                  <a:lnTo>
                    <a:pt x="2255" y="156"/>
                  </a:lnTo>
                  <a:lnTo>
                    <a:pt x="2274" y="142"/>
                  </a:lnTo>
                  <a:lnTo>
                    <a:pt x="2316" y="118"/>
                  </a:lnTo>
                  <a:lnTo>
                    <a:pt x="2339" y="108"/>
                  </a:lnTo>
                  <a:lnTo>
                    <a:pt x="2365" y="99"/>
                  </a:lnTo>
                  <a:lnTo>
                    <a:pt x="2391" y="90"/>
                  </a:lnTo>
                  <a:lnTo>
                    <a:pt x="2419" y="83"/>
                  </a:lnTo>
                  <a:lnTo>
                    <a:pt x="2449" y="79"/>
                  </a:lnTo>
                  <a:lnTo>
                    <a:pt x="2481" y="74"/>
                  </a:lnTo>
                  <a:lnTo>
                    <a:pt x="2516" y="72"/>
                  </a:lnTo>
                  <a:lnTo>
                    <a:pt x="2551" y="71"/>
                  </a:lnTo>
                  <a:lnTo>
                    <a:pt x="2615" y="73"/>
                  </a:lnTo>
                  <a:lnTo>
                    <a:pt x="2668" y="79"/>
                  </a:lnTo>
                  <a:lnTo>
                    <a:pt x="2721" y="88"/>
                  </a:lnTo>
                  <a:lnTo>
                    <a:pt x="2782" y="100"/>
                  </a:lnTo>
                  <a:lnTo>
                    <a:pt x="2782" y="390"/>
                  </a:lnTo>
                  <a:lnTo>
                    <a:pt x="2717" y="375"/>
                  </a:lnTo>
                  <a:lnTo>
                    <a:pt x="2676" y="371"/>
                  </a:lnTo>
                  <a:lnTo>
                    <a:pt x="2622" y="369"/>
                  </a:lnTo>
                  <a:close/>
                  <a:moveTo>
                    <a:pt x="1447" y="1554"/>
                  </a:moveTo>
                  <a:lnTo>
                    <a:pt x="1649" y="1903"/>
                  </a:lnTo>
                  <a:lnTo>
                    <a:pt x="1599" y="1930"/>
                  </a:lnTo>
                  <a:lnTo>
                    <a:pt x="1549" y="1955"/>
                  </a:lnTo>
                  <a:lnTo>
                    <a:pt x="1498" y="1976"/>
                  </a:lnTo>
                  <a:lnTo>
                    <a:pt x="1446" y="1995"/>
                  </a:lnTo>
                  <a:lnTo>
                    <a:pt x="1394" y="2010"/>
                  </a:lnTo>
                  <a:lnTo>
                    <a:pt x="1342" y="2024"/>
                  </a:lnTo>
                  <a:lnTo>
                    <a:pt x="1288" y="2035"/>
                  </a:lnTo>
                  <a:lnTo>
                    <a:pt x="1235" y="2042"/>
                  </a:lnTo>
                  <a:lnTo>
                    <a:pt x="1183" y="2047"/>
                  </a:lnTo>
                  <a:lnTo>
                    <a:pt x="1130" y="2050"/>
                  </a:lnTo>
                  <a:lnTo>
                    <a:pt x="1076" y="2050"/>
                  </a:lnTo>
                  <a:lnTo>
                    <a:pt x="1023" y="2048"/>
                  </a:lnTo>
                  <a:lnTo>
                    <a:pt x="971" y="2042"/>
                  </a:lnTo>
                  <a:lnTo>
                    <a:pt x="919" y="2036"/>
                  </a:lnTo>
                  <a:lnTo>
                    <a:pt x="866" y="2026"/>
                  </a:lnTo>
                  <a:lnTo>
                    <a:pt x="815" y="2012"/>
                  </a:lnTo>
                  <a:lnTo>
                    <a:pt x="764" y="1998"/>
                  </a:lnTo>
                  <a:lnTo>
                    <a:pt x="714" y="1981"/>
                  </a:lnTo>
                  <a:lnTo>
                    <a:pt x="690" y="1971"/>
                  </a:lnTo>
                  <a:lnTo>
                    <a:pt x="665" y="1961"/>
                  </a:lnTo>
                  <a:lnTo>
                    <a:pt x="618" y="1939"/>
                  </a:lnTo>
                  <a:lnTo>
                    <a:pt x="570" y="1915"/>
                  </a:lnTo>
                  <a:lnTo>
                    <a:pt x="524" y="1888"/>
                  </a:lnTo>
                  <a:lnTo>
                    <a:pt x="480" y="1859"/>
                  </a:lnTo>
                  <a:lnTo>
                    <a:pt x="436" y="1828"/>
                  </a:lnTo>
                  <a:lnTo>
                    <a:pt x="394" y="1795"/>
                  </a:lnTo>
                  <a:lnTo>
                    <a:pt x="353" y="1759"/>
                  </a:lnTo>
                  <a:lnTo>
                    <a:pt x="314" y="1721"/>
                  </a:lnTo>
                  <a:lnTo>
                    <a:pt x="278" y="1681"/>
                  </a:lnTo>
                  <a:lnTo>
                    <a:pt x="242" y="1639"/>
                  </a:lnTo>
                  <a:lnTo>
                    <a:pt x="209" y="1596"/>
                  </a:lnTo>
                  <a:lnTo>
                    <a:pt x="177" y="1549"/>
                  </a:lnTo>
                  <a:lnTo>
                    <a:pt x="148" y="1502"/>
                  </a:lnTo>
                  <a:lnTo>
                    <a:pt x="120" y="1452"/>
                  </a:lnTo>
                  <a:lnTo>
                    <a:pt x="97" y="1400"/>
                  </a:lnTo>
                  <a:lnTo>
                    <a:pt x="74" y="1349"/>
                  </a:lnTo>
                  <a:lnTo>
                    <a:pt x="55" y="1298"/>
                  </a:lnTo>
                  <a:lnTo>
                    <a:pt x="40" y="1246"/>
                  </a:lnTo>
                  <a:lnTo>
                    <a:pt x="27" y="1193"/>
                  </a:lnTo>
                  <a:lnTo>
                    <a:pt x="17" y="1141"/>
                  </a:lnTo>
                  <a:lnTo>
                    <a:pt x="8" y="1087"/>
                  </a:lnTo>
                  <a:lnTo>
                    <a:pt x="3" y="1034"/>
                  </a:lnTo>
                  <a:lnTo>
                    <a:pt x="0" y="981"/>
                  </a:lnTo>
                  <a:lnTo>
                    <a:pt x="0" y="928"/>
                  </a:lnTo>
                  <a:lnTo>
                    <a:pt x="2" y="875"/>
                  </a:lnTo>
                  <a:lnTo>
                    <a:pt x="8" y="822"/>
                  </a:lnTo>
                  <a:lnTo>
                    <a:pt x="15" y="770"/>
                  </a:lnTo>
                  <a:lnTo>
                    <a:pt x="25" y="718"/>
                  </a:lnTo>
                  <a:lnTo>
                    <a:pt x="38" y="667"/>
                  </a:lnTo>
                  <a:lnTo>
                    <a:pt x="52" y="616"/>
                  </a:lnTo>
                  <a:lnTo>
                    <a:pt x="70" y="566"/>
                  </a:lnTo>
                  <a:lnTo>
                    <a:pt x="79" y="542"/>
                  </a:lnTo>
                  <a:lnTo>
                    <a:pt x="89" y="517"/>
                  </a:lnTo>
                  <a:lnTo>
                    <a:pt x="111" y="470"/>
                  </a:lnTo>
                  <a:lnTo>
                    <a:pt x="135" y="422"/>
                  </a:lnTo>
                  <a:lnTo>
                    <a:pt x="162" y="376"/>
                  </a:lnTo>
                  <a:lnTo>
                    <a:pt x="191" y="332"/>
                  </a:lnTo>
                  <a:lnTo>
                    <a:pt x="222" y="289"/>
                  </a:lnTo>
                  <a:lnTo>
                    <a:pt x="255" y="246"/>
                  </a:lnTo>
                  <a:lnTo>
                    <a:pt x="291" y="205"/>
                  </a:lnTo>
                  <a:lnTo>
                    <a:pt x="329" y="166"/>
                  </a:lnTo>
                  <a:lnTo>
                    <a:pt x="369" y="130"/>
                  </a:lnTo>
                  <a:lnTo>
                    <a:pt x="411" y="94"/>
                  </a:lnTo>
                  <a:lnTo>
                    <a:pt x="455" y="61"/>
                  </a:lnTo>
                  <a:lnTo>
                    <a:pt x="501" y="29"/>
                  </a:lnTo>
                  <a:lnTo>
                    <a:pt x="550" y="0"/>
                  </a:lnTo>
                  <a:lnTo>
                    <a:pt x="825" y="74"/>
                  </a:lnTo>
                  <a:lnTo>
                    <a:pt x="751" y="349"/>
                  </a:lnTo>
                  <a:lnTo>
                    <a:pt x="720" y="369"/>
                  </a:lnTo>
                  <a:lnTo>
                    <a:pt x="690" y="389"/>
                  </a:lnTo>
                  <a:lnTo>
                    <a:pt x="661" y="411"/>
                  </a:lnTo>
                  <a:lnTo>
                    <a:pt x="634" y="434"/>
                  </a:lnTo>
                  <a:lnTo>
                    <a:pt x="608" y="459"/>
                  </a:lnTo>
                  <a:lnTo>
                    <a:pt x="584" y="484"/>
                  </a:lnTo>
                  <a:lnTo>
                    <a:pt x="540" y="537"/>
                  </a:lnTo>
                  <a:lnTo>
                    <a:pt x="520" y="565"/>
                  </a:lnTo>
                  <a:lnTo>
                    <a:pt x="502" y="594"/>
                  </a:lnTo>
                  <a:lnTo>
                    <a:pt x="485" y="624"/>
                  </a:lnTo>
                  <a:lnTo>
                    <a:pt x="470" y="655"/>
                  </a:lnTo>
                  <a:lnTo>
                    <a:pt x="455" y="686"/>
                  </a:lnTo>
                  <a:lnTo>
                    <a:pt x="443" y="717"/>
                  </a:lnTo>
                  <a:lnTo>
                    <a:pt x="424" y="782"/>
                  </a:lnTo>
                  <a:lnTo>
                    <a:pt x="410" y="848"/>
                  </a:lnTo>
                  <a:lnTo>
                    <a:pt x="403" y="915"/>
                  </a:lnTo>
                  <a:lnTo>
                    <a:pt x="401" y="948"/>
                  </a:lnTo>
                  <a:lnTo>
                    <a:pt x="401" y="982"/>
                  </a:lnTo>
                  <a:lnTo>
                    <a:pt x="403" y="1015"/>
                  </a:lnTo>
                  <a:lnTo>
                    <a:pt x="406" y="1048"/>
                  </a:lnTo>
                  <a:lnTo>
                    <a:pt x="411" y="1082"/>
                  </a:lnTo>
                  <a:lnTo>
                    <a:pt x="418" y="1115"/>
                  </a:lnTo>
                  <a:lnTo>
                    <a:pt x="426" y="1147"/>
                  </a:lnTo>
                  <a:lnTo>
                    <a:pt x="435" y="1179"/>
                  </a:lnTo>
                  <a:lnTo>
                    <a:pt x="448" y="1211"/>
                  </a:lnTo>
                  <a:lnTo>
                    <a:pt x="460" y="1242"/>
                  </a:lnTo>
                  <a:lnTo>
                    <a:pt x="475" y="1273"/>
                  </a:lnTo>
                  <a:lnTo>
                    <a:pt x="491" y="1303"/>
                  </a:lnTo>
                  <a:lnTo>
                    <a:pt x="509" y="1332"/>
                  </a:lnTo>
                  <a:lnTo>
                    <a:pt x="528" y="1359"/>
                  </a:lnTo>
                  <a:lnTo>
                    <a:pt x="570" y="1412"/>
                  </a:lnTo>
                  <a:lnTo>
                    <a:pt x="593" y="1436"/>
                  </a:lnTo>
                  <a:lnTo>
                    <a:pt x="618" y="1459"/>
                  </a:lnTo>
                  <a:lnTo>
                    <a:pt x="643" y="1482"/>
                  </a:lnTo>
                  <a:lnTo>
                    <a:pt x="669" y="1503"/>
                  </a:lnTo>
                  <a:lnTo>
                    <a:pt x="724" y="1540"/>
                  </a:lnTo>
                  <a:lnTo>
                    <a:pt x="753" y="1557"/>
                  </a:lnTo>
                  <a:lnTo>
                    <a:pt x="783" y="1573"/>
                  </a:lnTo>
                  <a:lnTo>
                    <a:pt x="844" y="1600"/>
                  </a:lnTo>
                  <a:lnTo>
                    <a:pt x="876" y="1612"/>
                  </a:lnTo>
                  <a:lnTo>
                    <a:pt x="909" y="1622"/>
                  </a:lnTo>
                  <a:lnTo>
                    <a:pt x="974" y="1636"/>
                  </a:lnTo>
                  <a:lnTo>
                    <a:pt x="1007" y="1642"/>
                  </a:lnTo>
                  <a:lnTo>
                    <a:pt x="1042" y="1645"/>
                  </a:lnTo>
                  <a:lnTo>
                    <a:pt x="1075" y="1647"/>
                  </a:lnTo>
                  <a:lnTo>
                    <a:pt x="1110" y="1647"/>
                  </a:lnTo>
                  <a:lnTo>
                    <a:pt x="1144" y="1646"/>
                  </a:lnTo>
                  <a:lnTo>
                    <a:pt x="1178" y="1643"/>
                  </a:lnTo>
                  <a:lnTo>
                    <a:pt x="1213" y="1638"/>
                  </a:lnTo>
                  <a:lnTo>
                    <a:pt x="1246" y="1632"/>
                  </a:lnTo>
                  <a:lnTo>
                    <a:pt x="1281" y="1624"/>
                  </a:lnTo>
                  <a:lnTo>
                    <a:pt x="1315" y="1614"/>
                  </a:lnTo>
                  <a:lnTo>
                    <a:pt x="1348" y="1602"/>
                  </a:lnTo>
                  <a:lnTo>
                    <a:pt x="1382" y="1587"/>
                  </a:lnTo>
                  <a:lnTo>
                    <a:pt x="1415" y="1572"/>
                  </a:lnTo>
                  <a:lnTo>
                    <a:pt x="1447" y="1554"/>
                  </a:lnTo>
                  <a:close/>
                  <a:moveTo>
                    <a:pt x="565" y="1259"/>
                  </a:moveTo>
                  <a:lnTo>
                    <a:pt x="598" y="1309"/>
                  </a:lnTo>
                  <a:lnTo>
                    <a:pt x="634" y="1356"/>
                  </a:lnTo>
                  <a:lnTo>
                    <a:pt x="676" y="1398"/>
                  </a:lnTo>
                  <a:lnTo>
                    <a:pt x="721" y="1435"/>
                  </a:lnTo>
                  <a:lnTo>
                    <a:pt x="745" y="1453"/>
                  </a:lnTo>
                  <a:lnTo>
                    <a:pt x="770" y="1468"/>
                  </a:lnTo>
                  <a:lnTo>
                    <a:pt x="821" y="1497"/>
                  </a:lnTo>
                  <a:lnTo>
                    <a:pt x="847" y="1509"/>
                  </a:lnTo>
                  <a:lnTo>
                    <a:pt x="875" y="1520"/>
                  </a:lnTo>
                  <a:lnTo>
                    <a:pt x="932" y="1539"/>
                  </a:lnTo>
                  <a:lnTo>
                    <a:pt x="990" y="1553"/>
                  </a:lnTo>
                  <a:lnTo>
                    <a:pt x="1049" y="1560"/>
                  </a:lnTo>
                  <a:lnTo>
                    <a:pt x="1108" y="1563"/>
                  </a:lnTo>
                  <a:lnTo>
                    <a:pt x="1168" y="1558"/>
                  </a:lnTo>
                  <a:lnTo>
                    <a:pt x="1228" y="1548"/>
                  </a:lnTo>
                  <a:lnTo>
                    <a:pt x="1288" y="1533"/>
                  </a:lnTo>
                  <a:lnTo>
                    <a:pt x="1347" y="1509"/>
                  </a:lnTo>
                  <a:lnTo>
                    <a:pt x="1405" y="1480"/>
                  </a:lnTo>
                  <a:lnTo>
                    <a:pt x="1460" y="1445"/>
                  </a:lnTo>
                  <a:lnTo>
                    <a:pt x="1485" y="1426"/>
                  </a:lnTo>
                  <a:lnTo>
                    <a:pt x="1508" y="1405"/>
                  </a:lnTo>
                  <a:lnTo>
                    <a:pt x="1553" y="1362"/>
                  </a:lnTo>
                  <a:lnTo>
                    <a:pt x="1592" y="1314"/>
                  </a:lnTo>
                  <a:lnTo>
                    <a:pt x="1625" y="1264"/>
                  </a:lnTo>
                  <a:lnTo>
                    <a:pt x="1639" y="1237"/>
                  </a:lnTo>
                  <a:lnTo>
                    <a:pt x="1653" y="1211"/>
                  </a:lnTo>
                  <a:lnTo>
                    <a:pt x="1665" y="1184"/>
                  </a:lnTo>
                  <a:lnTo>
                    <a:pt x="1676" y="1156"/>
                  </a:lnTo>
                  <a:lnTo>
                    <a:pt x="1693" y="1099"/>
                  </a:lnTo>
                  <a:lnTo>
                    <a:pt x="1705" y="1042"/>
                  </a:lnTo>
                  <a:lnTo>
                    <a:pt x="1709" y="1013"/>
                  </a:lnTo>
                  <a:lnTo>
                    <a:pt x="1712" y="983"/>
                  </a:lnTo>
                  <a:lnTo>
                    <a:pt x="1713" y="924"/>
                  </a:lnTo>
                  <a:lnTo>
                    <a:pt x="1708" y="866"/>
                  </a:lnTo>
                  <a:lnTo>
                    <a:pt x="1697" y="807"/>
                  </a:lnTo>
                  <a:lnTo>
                    <a:pt x="1682" y="751"/>
                  </a:lnTo>
                  <a:lnTo>
                    <a:pt x="1661" y="696"/>
                  </a:lnTo>
                  <a:lnTo>
                    <a:pt x="1634" y="643"/>
                  </a:lnTo>
                  <a:lnTo>
                    <a:pt x="1602" y="593"/>
                  </a:lnTo>
                  <a:lnTo>
                    <a:pt x="1564" y="547"/>
                  </a:lnTo>
                  <a:lnTo>
                    <a:pt x="1523" y="505"/>
                  </a:lnTo>
                  <a:lnTo>
                    <a:pt x="1501" y="485"/>
                  </a:lnTo>
                  <a:lnTo>
                    <a:pt x="1478" y="467"/>
                  </a:lnTo>
                  <a:lnTo>
                    <a:pt x="1454" y="450"/>
                  </a:lnTo>
                  <a:lnTo>
                    <a:pt x="1430" y="434"/>
                  </a:lnTo>
                  <a:lnTo>
                    <a:pt x="1378" y="405"/>
                  </a:lnTo>
                  <a:lnTo>
                    <a:pt x="1352" y="393"/>
                  </a:lnTo>
                  <a:lnTo>
                    <a:pt x="1324" y="382"/>
                  </a:lnTo>
                  <a:lnTo>
                    <a:pt x="1268" y="363"/>
                  </a:lnTo>
                  <a:lnTo>
                    <a:pt x="1240" y="356"/>
                  </a:lnTo>
                  <a:lnTo>
                    <a:pt x="1211" y="350"/>
                  </a:lnTo>
                  <a:lnTo>
                    <a:pt x="1181" y="345"/>
                  </a:lnTo>
                  <a:lnTo>
                    <a:pt x="1152" y="342"/>
                  </a:lnTo>
                  <a:lnTo>
                    <a:pt x="1092" y="340"/>
                  </a:lnTo>
                  <a:lnTo>
                    <a:pt x="1031" y="344"/>
                  </a:lnTo>
                  <a:lnTo>
                    <a:pt x="971" y="354"/>
                  </a:lnTo>
                  <a:lnTo>
                    <a:pt x="911" y="370"/>
                  </a:lnTo>
                  <a:lnTo>
                    <a:pt x="881" y="381"/>
                  </a:lnTo>
                  <a:lnTo>
                    <a:pt x="852" y="393"/>
                  </a:lnTo>
                  <a:lnTo>
                    <a:pt x="823" y="406"/>
                  </a:lnTo>
                  <a:lnTo>
                    <a:pt x="794" y="423"/>
                  </a:lnTo>
                  <a:lnTo>
                    <a:pt x="766" y="440"/>
                  </a:lnTo>
                  <a:lnTo>
                    <a:pt x="740" y="457"/>
                  </a:lnTo>
                  <a:lnTo>
                    <a:pt x="714" y="476"/>
                  </a:lnTo>
                  <a:lnTo>
                    <a:pt x="691" y="497"/>
                  </a:lnTo>
                  <a:lnTo>
                    <a:pt x="646" y="541"/>
                  </a:lnTo>
                  <a:lnTo>
                    <a:pt x="609" y="589"/>
                  </a:lnTo>
                  <a:lnTo>
                    <a:pt x="574" y="639"/>
                  </a:lnTo>
                  <a:lnTo>
                    <a:pt x="560" y="664"/>
                  </a:lnTo>
                  <a:lnTo>
                    <a:pt x="546" y="692"/>
                  </a:lnTo>
                  <a:lnTo>
                    <a:pt x="534" y="718"/>
                  </a:lnTo>
                  <a:lnTo>
                    <a:pt x="524" y="746"/>
                  </a:lnTo>
                  <a:lnTo>
                    <a:pt x="506" y="803"/>
                  </a:lnTo>
                  <a:lnTo>
                    <a:pt x="494" y="861"/>
                  </a:lnTo>
                  <a:lnTo>
                    <a:pt x="488" y="920"/>
                  </a:lnTo>
                  <a:lnTo>
                    <a:pt x="486" y="978"/>
                  </a:lnTo>
                  <a:lnTo>
                    <a:pt x="491" y="1037"/>
                  </a:lnTo>
                  <a:lnTo>
                    <a:pt x="495" y="1066"/>
                  </a:lnTo>
                  <a:lnTo>
                    <a:pt x="501" y="1095"/>
                  </a:lnTo>
                  <a:lnTo>
                    <a:pt x="516" y="1152"/>
                  </a:lnTo>
                  <a:lnTo>
                    <a:pt x="538" y="1207"/>
                  </a:lnTo>
                  <a:lnTo>
                    <a:pt x="565" y="12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fi-FI" b="0">
                <a:latin typeface="Arial"/>
              </a:endParaRPr>
            </a:p>
          </p:txBody>
        </p:sp>
      </p:grpSp>
      <p:sp>
        <p:nvSpPr>
          <p:cNvPr id="17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0361613" cy="72263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297850" y="6211926"/>
                </a:moveTo>
                <a:lnTo>
                  <a:pt x="10297850" y="6333813"/>
                </a:lnTo>
                <a:lnTo>
                  <a:pt x="10297850" y="6455700"/>
                </a:lnTo>
                <a:lnTo>
                  <a:pt x="10297850" y="6577586"/>
                </a:lnTo>
                <a:lnTo>
                  <a:pt x="10297850" y="6699473"/>
                </a:lnTo>
                <a:lnTo>
                  <a:pt x="10389125" y="6699473"/>
                </a:lnTo>
                <a:lnTo>
                  <a:pt x="10480540" y="6699473"/>
                </a:lnTo>
                <a:lnTo>
                  <a:pt x="10572095" y="6699473"/>
                </a:lnTo>
                <a:lnTo>
                  <a:pt x="10663510" y="6699473"/>
                </a:lnTo>
                <a:lnTo>
                  <a:pt x="10754785" y="6699473"/>
                </a:lnTo>
                <a:lnTo>
                  <a:pt x="10846199" y="6699473"/>
                </a:lnTo>
                <a:lnTo>
                  <a:pt x="10937754" y="6699473"/>
                </a:lnTo>
                <a:lnTo>
                  <a:pt x="11029169" y="6699473"/>
                </a:lnTo>
                <a:lnTo>
                  <a:pt x="11120444" y="6699473"/>
                </a:lnTo>
                <a:lnTo>
                  <a:pt x="11211859" y="6699473"/>
                </a:lnTo>
                <a:lnTo>
                  <a:pt x="11303274" y="6699473"/>
                </a:lnTo>
                <a:lnTo>
                  <a:pt x="11394828" y="6699473"/>
                </a:lnTo>
                <a:lnTo>
                  <a:pt x="11486104" y="6699473"/>
                </a:lnTo>
                <a:lnTo>
                  <a:pt x="11577518" y="6699473"/>
                </a:lnTo>
                <a:lnTo>
                  <a:pt x="11668933" y="6699473"/>
                </a:lnTo>
                <a:lnTo>
                  <a:pt x="11760488" y="6699473"/>
                </a:lnTo>
                <a:lnTo>
                  <a:pt x="11760488" y="6577586"/>
                </a:lnTo>
                <a:lnTo>
                  <a:pt x="11760488" y="6455700"/>
                </a:lnTo>
                <a:lnTo>
                  <a:pt x="11760488" y="6333813"/>
                </a:lnTo>
                <a:lnTo>
                  <a:pt x="11760488" y="6211926"/>
                </a:lnTo>
                <a:lnTo>
                  <a:pt x="11668933" y="6211926"/>
                </a:lnTo>
                <a:lnTo>
                  <a:pt x="11577518" y="6211926"/>
                </a:lnTo>
                <a:lnTo>
                  <a:pt x="11486104" y="6211926"/>
                </a:lnTo>
                <a:lnTo>
                  <a:pt x="11394828" y="6211926"/>
                </a:lnTo>
                <a:lnTo>
                  <a:pt x="11303274" y="6211926"/>
                </a:lnTo>
                <a:lnTo>
                  <a:pt x="11211859" y="6211926"/>
                </a:lnTo>
                <a:lnTo>
                  <a:pt x="11120444" y="6211926"/>
                </a:lnTo>
                <a:lnTo>
                  <a:pt x="11029169" y="6211926"/>
                </a:lnTo>
                <a:lnTo>
                  <a:pt x="10937754" y="6211926"/>
                </a:lnTo>
                <a:lnTo>
                  <a:pt x="10846199" y="6211926"/>
                </a:lnTo>
                <a:lnTo>
                  <a:pt x="10754785" y="6211926"/>
                </a:lnTo>
                <a:lnTo>
                  <a:pt x="10663510" y="6211926"/>
                </a:lnTo>
                <a:lnTo>
                  <a:pt x="10572095" y="6211926"/>
                </a:lnTo>
                <a:lnTo>
                  <a:pt x="10480540" y="6211926"/>
                </a:lnTo>
                <a:lnTo>
                  <a:pt x="10389125" y="621192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AEAEA"/>
          </a:solidFill>
        </p:spPr>
        <p:txBody>
          <a:bodyPr>
            <a:normAutofit/>
          </a:bodyPr>
          <a:lstStyle>
            <a:lvl1pPr marL="0" marR="0" indent="0" algn="r" defTabSz="777149" rtl="0" eaLnBrk="1" fontAlgn="auto" latinLnBrk="0" hangingPunct="1">
              <a:lnSpc>
                <a:spcPct val="100000"/>
              </a:lnSpc>
              <a:spcBef>
                <a:spcPts val="68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02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165" y="2029433"/>
            <a:ext cx="7833271" cy="1365600"/>
          </a:xfrm>
        </p:spPr>
        <p:txBody>
          <a:bodyPr anchor="t" anchorCtr="0"/>
          <a:lstStyle>
            <a:lvl1pPr algn="l">
              <a:defRPr sz="425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8165" y="1479400"/>
            <a:ext cx="7833271" cy="379333"/>
          </a:xfrm>
        </p:spPr>
        <p:txBody>
          <a:bodyPr anchor="b" anchorCtr="0"/>
          <a:lstStyle>
            <a:lvl1pPr marL="0" indent="0" algn="l">
              <a:buNone/>
              <a:defRPr sz="17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 marL="388574" indent="0" algn="ctr">
              <a:buNone/>
              <a:defRPr sz="1700"/>
            </a:lvl2pPr>
            <a:lvl3pPr marL="777149" indent="0" algn="ctr">
              <a:buNone/>
              <a:defRPr sz="1530"/>
            </a:lvl3pPr>
            <a:lvl4pPr marL="1165723" indent="0" algn="ctr">
              <a:buNone/>
              <a:defRPr sz="1360"/>
            </a:lvl4pPr>
            <a:lvl5pPr marL="1554297" indent="0" algn="ctr">
              <a:buNone/>
              <a:defRPr sz="1360"/>
            </a:lvl5pPr>
            <a:lvl6pPr marL="1942871" indent="0" algn="ctr">
              <a:buNone/>
              <a:defRPr sz="1360"/>
            </a:lvl6pPr>
            <a:lvl7pPr marL="2331446" indent="0" algn="ctr">
              <a:buNone/>
              <a:defRPr sz="1360"/>
            </a:lvl7pPr>
            <a:lvl8pPr marL="2720020" indent="0" algn="ctr">
              <a:buNone/>
              <a:defRPr sz="1360"/>
            </a:lvl8pPr>
            <a:lvl9pPr marL="3108594" indent="0" algn="ctr">
              <a:buNone/>
              <a:defRPr sz="13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68165" y="4903027"/>
            <a:ext cx="7833271" cy="759248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Name / Title / Date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-2211"/>
            <a:ext cx="1104491" cy="993853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FontTx/>
              <a:buNone/>
              <a:defRPr sz="170">
                <a:noFill/>
              </a:defRPr>
            </a:lvl1pPr>
          </a:lstStyle>
          <a:p>
            <a:pPr lvl="0"/>
            <a:r>
              <a:rPr lang="fi-FI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49533936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803894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with Subheading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2" y="1564030"/>
            <a:ext cx="9425289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2" y="2171524"/>
            <a:ext cx="9425289" cy="42485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3291520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s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03201" y="1564026"/>
            <a:ext cx="4590251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180807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3142063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2" y="1564030"/>
            <a:ext cx="4590251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2" y="2171524"/>
            <a:ext cx="4590251" cy="42485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03201" y="1564030"/>
            <a:ext cx="4590251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303201" y="2171527"/>
            <a:ext cx="4590251" cy="42485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180807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961278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3" y="1564030"/>
            <a:ext cx="2999117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163" y="2171239"/>
            <a:ext cx="2999117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712028" y="2171484"/>
            <a:ext cx="2937150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6894382" y="1564466"/>
            <a:ext cx="2998757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712028" y="1564466"/>
            <a:ext cx="2937558" cy="60668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30" b="1"/>
            </a:lvl1pPr>
            <a:lvl2pPr marL="388574" indent="0">
              <a:buNone/>
              <a:defRPr sz="1700" b="1"/>
            </a:lvl2pPr>
            <a:lvl3pPr marL="777149" indent="0">
              <a:buNone/>
              <a:defRPr sz="1530" b="1"/>
            </a:lvl3pPr>
            <a:lvl4pPr marL="1165723" indent="0">
              <a:buNone/>
              <a:defRPr sz="1360" b="1"/>
            </a:lvl4pPr>
            <a:lvl5pPr marL="1554297" indent="0">
              <a:buNone/>
              <a:defRPr sz="1360" b="1"/>
            </a:lvl5pPr>
            <a:lvl6pPr marL="1942871" indent="0">
              <a:buNone/>
              <a:defRPr sz="1360" b="1"/>
            </a:lvl6pPr>
            <a:lvl7pPr marL="2331446" indent="0">
              <a:buNone/>
              <a:defRPr sz="1360" b="1"/>
            </a:lvl7pPr>
            <a:lvl8pPr marL="2720020" indent="0">
              <a:buNone/>
              <a:defRPr sz="1360" b="1"/>
            </a:lvl8pPr>
            <a:lvl9pPr marL="3108594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6894382" y="2171484"/>
            <a:ext cx="2998341" cy="4248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589673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6771940" y="1564026"/>
            <a:ext cx="0" cy="4856006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028374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2" preserve="1" userDrawn="1">
  <p:cSld name="Title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303203" y="5"/>
            <a:ext cx="5058412" cy="6420032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8165" y="501826"/>
            <a:ext cx="4590250" cy="7591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103588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mall Picture" preserve="1" userDrawn="1">
  <p:cSld name="Title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165" y="1564026"/>
            <a:ext cx="4590250" cy="48560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303201" y="1564027"/>
            <a:ext cx="4590251" cy="4856006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9970976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1" preserve="1" userDrawn="1">
  <p:cSld name="Title and 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8163" y="1564027"/>
            <a:ext cx="9425289" cy="4856006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53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482488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D385D7-D585-4D14-8A8B-FAA3C2E18959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693565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60356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ogan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20.3.2017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8163" y="2702654"/>
            <a:ext cx="9425288" cy="1745415"/>
          </a:xfrm>
        </p:spPr>
        <p:txBody>
          <a:bodyPr anchor="ctr" anchorCtr="0"/>
          <a:lstStyle>
            <a:lvl1pPr algn="ctr">
              <a:defRPr sz="42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470208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20.3.2017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7247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8080" y="287714"/>
            <a:ext cx="3409038" cy="1224456"/>
          </a:xfrm>
        </p:spPr>
        <p:txBody>
          <a:bodyPr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1656" y="287714"/>
            <a:ext cx="5791876" cy="6167447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18080" y="1512171"/>
            <a:ext cx="3409038" cy="4942990"/>
          </a:xfrm>
        </p:spPr>
        <p:txBody>
          <a:bodyPr/>
          <a:lstStyle>
            <a:lvl1pPr marL="0" indent="0">
              <a:buNone/>
              <a:defRPr sz="1500"/>
            </a:lvl1pPr>
            <a:lvl2pPr marL="479649" indent="0">
              <a:buNone/>
              <a:defRPr sz="1300"/>
            </a:lvl2pPr>
            <a:lvl3pPr marL="959297" indent="0">
              <a:buNone/>
              <a:defRPr sz="1000"/>
            </a:lvl3pPr>
            <a:lvl4pPr marL="1438946" indent="0">
              <a:buNone/>
              <a:defRPr sz="900"/>
            </a:lvl4pPr>
            <a:lvl5pPr marL="1918594" indent="0">
              <a:buNone/>
              <a:defRPr sz="900"/>
            </a:lvl5pPr>
            <a:lvl6pPr marL="2398243" indent="0">
              <a:buNone/>
              <a:defRPr sz="900"/>
            </a:lvl6pPr>
            <a:lvl7pPr marL="2877891" indent="0">
              <a:buNone/>
              <a:defRPr sz="900"/>
            </a:lvl7pPr>
            <a:lvl8pPr marL="3357540" indent="0">
              <a:buNone/>
              <a:defRPr sz="900"/>
            </a:lvl8pPr>
            <a:lvl9pPr marL="3837188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17E98A-491D-454E-8891-8D07C7A58460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0810" y="5058410"/>
            <a:ext cx="6216968" cy="597174"/>
          </a:xfrm>
        </p:spPr>
        <p:txBody>
          <a:bodyPr/>
          <a:lstStyle>
            <a:lvl1pPr algn="l">
              <a:defRPr sz="2100" b="1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30810" y="645683"/>
            <a:ext cx="6216968" cy="4335780"/>
          </a:xfrm>
        </p:spPr>
        <p:txBody>
          <a:bodyPr lIns="49098" tIns="47965" rIns="49098" bIns="47965"/>
          <a:lstStyle>
            <a:lvl1pPr marL="0" indent="0">
              <a:buNone/>
              <a:defRPr sz="3400"/>
            </a:lvl1pPr>
            <a:lvl2pPr marL="479649" indent="0">
              <a:buNone/>
              <a:defRPr sz="2900"/>
            </a:lvl2pPr>
            <a:lvl3pPr marL="959297" indent="0">
              <a:buNone/>
              <a:defRPr sz="2500"/>
            </a:lvl3pPr>
            <a:lvl4pPr marL="1438946" indent="0">
              <a:buNone/>
              <a:defRPr sz="2100"/>
            </a:lvl4pPr>
            <a:lvl5pPr marL="1918594" indent="0">
              <a:buNone/>
              <a:defRPr sz="2100"/>
            </a:lvl5pPr>
            <a:lvl6pPr marL="2398243" indent="0">
              <a:buNone/>
              <a:defRPr sz="2100"/>
            </a:lvl6pPr>
            <a:lvl7pPr marL="2877891" indent="0">
              <a:buNone/>
              <a:defRPr sz="2100"/>
            </a:lvl7pPr>
            <a:lvl8pPr marL="3357540" indent="0">
              <a:buNone/>
              <a:defRPr sz="2100"/>
            </a:lvl8pPr>
            <a:lvl9pPr marL="3837188" indent="0">
              <a:buNone/>
              <a:defRPr sz="2100"/>
            </a:lvl9pPr>
          </a:lstStyle>
          <a:p>
            <a:pPr lvl="0"/>
            <a:endParaRPr lang="it-IT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30810" y="5655584"/>
            <a:ext cx="6216968" cy="848086"/>
          </a:xfrm>
        </p:spPr>
        <p:txBody>
          <a:bodyPr/>
          <a:lstStyle>
            <a:lvl1pPr marL="0" indent="0">
              <a:buNone/>
              <a:defRPr sz="1500"/>
            </a:lvl1pPr>
            <a:lvl2pPr marL="479649" indent="0">
              <a:buNone/>
              <a:defRPr sz="1300"/>
            </a:lvl2pPr>
            <a:lvl3pPr marL="959297" indent="0">
              <a:buNone/>
              <a:defRPr sz="1000"/>
            </a:lvl3pPr>
            <a:lvl4pPr marL="1438946" indent="0">
              <a:buNone/>
              <a:defRPr sz="900"/>
            </a:lvl4pPr>
            <a:lvl5pPr marL="1918594" indent="0">
              <a:buNone/>
              <a:defRPr sz="900"/>
            </a:lvl5pPr>
            <a:lvl6pPr marL="2398243" indent="0">
              <a:buNone/>
              <a:defRPr sz="900"/>
            </a:lvl6pPr>
            <a:lvl7pPr marL="2877891" indent="0">
              <a:buNone/>
              <a:defRPr sz="900"/>
            </a:lvl7pPr>
            <a:lvl8pPr marL="3357540" indent="0">
              <a:buNone/>
              <a:defRPr sz="900"/>
            </a:lvl8pPr>
            <a:lvl9pPr marL="383718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8B0686-B3A8-447A-9CA2-577185BE0175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vmlDrawing" Target="../drawings/vmlDrawing9.vml"/><Relationship Id="rId2" Type="http://schemas.openxmlformats.org/officeDocument/2006/relationships/slideLayout" Target="../slideLayouts/slideLayout30.xml"/><Relationship Id="rId16" Type="http://schemas.openxmlformats.org/officeDocument/2006/relationships/theme" Target="../theme/theme3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1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7596188" y="341313"/>
            <a:ext cx="2263775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83" tIns="49083" rIns="49083" bIns="4908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1"/>
              <a:t>CONFIDENTIAL</a:t>
            </a:r>
          </a:p>
        </p:txBody>
      </p:sp>
      <p:sp>
        <p:nvSpPr>
          <p:cNvPr id="1034" name="Notes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36538" y="6838950"/>
            <a:ext cx="6542087" cy="1524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865" indent="-184865" defTabSz="881022" eaLnBrk="0" fontAlgn="t" hangingPunct="0">
              <a:defRPr/>
            </a:pPr>
            <a:endParaRPr lang="it-IT" sz="1000" b="0" noProof="1">
              <a:solidFill>
                <a:schemeClr val="tx1"/>
              </a:solidFill>
              <a:ea typeface="ヒラギノ角ゴ Pro W3" pitchFamily="84" charset="-128"/>
              <a:cs typeface="+mn-cs"/>
            </a:endParaRPr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49238" y="6829425"/>
            <a:ext cx="450850" cy="24765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95900" tIns="47950" rIns="95900" bIns="4795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spcBef>
                <a:spcPct val="0"/>
              </a:spcBef>
              <a:defRPr sz="1000" b="0">
                <a:solidFill>
                  <a:srgbClr val="01AEF0"/>
                </a:solidFill>
                <a:ea typeface="ヒラギノ角ゴ Pro W3" pitchFamily="84" charset="-128"/>
                <a:cs typeface="+mn-cs"/>
              </a:defRPr>
            </a:lvl1pPr>
          </a:lstStyle>
          <a:p>
            <a:pPr>
              <a:defRPr/>
            </a:pPr>
            <a:fld id="{5FF6C2F1-FE10-4C25-8C36-3C0DA5FF9E1D}" type="slidenum">
              <a:rPr lang="it-IT"/>
              <a:pPr>
                <a:defRPr/>
              </a:pPr>
              <a:t>‹#›</a:t>
            </a:fld>
            <a:endParaRPr lang="it-IT"/>
          </a:p>
        </p:txBody>
      </p:sp>
      <p:sp>
        <p:nvSpPr>
          <p:cNvPr id="1029" name="Rectangle 2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8163" y="1225550"/>
            <a:ext cx="9324975" cy="499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83" tIns="47950" rIns="49083" bIns="479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</p:txBody>
      </p:sp>
      <p:sp>
        <p:nvSpPr>
          <p:cNvPr id="19" name="Rectangle 19"/>
          <p:cNvSpPr>
            <a:spLocks noChangeArrowheads="1"/>
          </p:cNvSpPr>
          <p:nvPr/>
        </p:nvSpPr>
        <p:spPr bwMode="auto">
          <a:xfrm>
            <a:off x="1727200" y="6786563"/>
            <a:ext cx="67738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1" tIns="45706" rIns="91411" bIns="45706">
            <a:spAutoFit/>
          </a:bodyPr>
          <a:lstStyle/>
          <a:p>
            <a:pPr eaLnBrk="0" hangingPunct="0">
              <a:defRPr/>
            </a:pPr>
            <a:r>
              <a:rPr lang="en-US" sz="800" b="0">
                <a:solidFill>
                  <a:srgbClr val="01AEF0"/>
                </a:solidFill>
              </a:rPr>
              <a:t>This information was prepared by EPCG and it is not to be relied on by any 3rd party without EPCG prior written consent.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98" b="5532"/>
          <a:stretch/>
        </p:blipFill>
        <p:spPr>
          <a:xfrm>
            <a:off x="8957388" y="6673823"/>
            <a:ext cx="1324635" cy="55247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0" r:id="rId4"/>
    <p:sldLayoutId id="2147483659" r:id="rId5"/>
    <p:sldLayoutId id="2147483658" r:id="rId6"/>
    <p:sldLayoutId id="2147483657" r:id="rId7"/>
    <p:sldLayoutId id="2147483656" r:id="rId8"/>
    <p:sldLayoutId id="2147483655" r:id="rId9"/>
    <p:sldLayoutId id="2147483654" r:id="rId10"/>
    <p:sldLayoutId id="2147483653" r:id="rId11"/>
    <p:sldLayoutId id="2147483652" r:id="rId12"/>
    <p:sldLayoutId id="2147483664" r:id="rId13"/>
  </p:sldLayoutIdLst>
  <p:hf hdr="0" ftr="0" dt="0"/>
  <p:txStyles>
    <p:titleStyle>
      <a:lvl1pPr algn="ctr" defTabSz="879475" rtl="0" eaLnBrk="0" fontAlgn="base" hangingPunct="0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+mj-lt"/>
          <a:ea typeface="+mj-ea"/>
          <a:cs typeface="+mj-cs"/>
        </a:defRPr>
      </a:lvl1pPr>
      <a:lvl2pPr algn="ctr" defTabSz="879475" rtl="0" eaLnBrk="0" fontAlgn="base" hangingPunct="0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Verdana" pitchFamily="34" charset="0"/>
        </a:defRPr>
      </a:lvl2pPr>
      <a:lvl3pPr algn="ctr" defTabSz="879475" rtl="0" eaLnBrk="0" fontAlgn="base" hangingPunct="0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Verdana" pitchFamily="34" charset="0"/>
        </a:defRPr>
      </a:lvl3pPr>
      <a:lvl4pPr algn="ctr" defTabSz="879475" rtl="0" eaLnBrk="0" fontAlgn="base" hangingPunct="0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Verdana" pitchFamily="34" charset="0"/>
        </a:defRPr>
      </a:lvl4pPr>
      <a:lvl5pPr algn="ctr" defTabSz="879475" rtl="0" eaLnBrk="0" fontAlgn="base" hangingPunct="0"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Verdana" pitchFamily="34" charset="0"/>
        </a:defRPr>
      </a:lvl5pPr>
      <a:lvl6pPr marL="479649" algn="l" defTabSz="881022" rtl="0" fontAlgn="base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Verdana" pitchFamily="34" charset="0"/>
        </a:defRPr>
      </a:lvl6pPr>
      <a:lvl7pPr marL="959297" algn="l" defTabSz="881022" rtl="0" fontAlgn="base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Verdana" pitchFamily="34" charset="0"/>
        </a:defRPr>
      </a:lvl7pPr>
      <a:lvl8pPr marL="1438946" algn="l" defTabSz="881022" rtl="0" fontAlgn="base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Verdana" pitchFamily="34" charset="0"/>
        </a:defRPr>
      </a:lvl8pPr>
      <a:lvl9pPr marL="1918594" algn="l" defTabSz="881022" rtl="0" fontAlgn="base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Verdana" pitchFamily="34" charset="0"/>
        </a:defRPr>
      </a:lvl9pPr>
    </p:titleStyle>
    <p:bodyStyle>
      <a:lvl1pPr marL="276225" indent="-276225" algn="l" rtl="0" eaLnBrk="0" fontAlgn="base" hangingPunct="0">
        <a:lnSpc>
          <a:spcPts val="2100"/>
        </a:lnSpc>
        <a:spcBef>
          <a:spcPct val="20000"/>
        </a:spcBef>
        <a:spcAft>
          <a:spcPct val="0"/>
        </a:spcAft>
        <a:buChar char="•"/>
        <a:defRPr sz="2500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749300" indent="-2682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-"/>
        <a:defRPr sz="210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1130300" indent="-1841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Marlett" pitchFamily="2" charset="2"/>
        <a:buChar char="8"/>
        <a:defRPr sz="1700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1800225" indent="-31908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2308225" indent="-319088" algn="l" rtl="0" eaLnBrk="0" fontAlgn="base" hangingPunct="0">
        <a:spcBef>
          <a:spcPct val="0"/>
        </a:spcBef>
        <a:spcAft>
          <a:spcPct val="0"/>
        </a:spcAft>
        <a:buClr>
          <a:srgbClr val="FFFF66"/>
        </a:buClr>
        <a:buFont typeface="Marlett" pitchFamily="2" charset="2"/>
        <a:buChar char="8"/>
        <a:defRPr sz="2400">
          <a:solidFill>
            <a:schemeClr val="bg1"/>
          </a:solidFill>
          <a:latin typeface="+mn-lt"/>
          <a:ea typeface="+mn-ea"/>
          <a:cs typeface="ヒラギノ角ゴ Pro W3"/>
        </a:defRPr>
      </a:lvl5pPr>
      <a:lvl6pPr marL="2787957" indent="-319766" algn="l" rtl="0" fontAlgn="base">
        <a:spcBef>
          <a:spcPct val="0"/>
        </a:spcBef>
        <a:spcAft>
          <a:spcPct val="0"/>
        </a:spcAft>
        <a:buClr>
          <a:srgbClr val="FFFF66"/>
        </a:buClr>
        <a:buFont typeface="Marlett" pitchFamily="2" charset="2"/>
        <a:buChar char="8"/>
        <a:defRPr sz="2400">
          <a:solidFill>
            <a:schemeClr val="bg1"/>
          </a:solidFill>
          <a:latin typeface="+mn-lt"/>
          <a:ea typeface="+mn-ea"/>
        </a:defRPr>
      </a:lvl6pPr>
      <a:lvl7pPr marL="3267606" indent="-319766" algn="l" rtl="0" fontAlgn="base">
        <a:spcBef>
          <a:spcPct val="0"/>
        </a:spcBef>
        <a:spcAft>
          <a:spcPct val="0"/>
        </a:spcAft>
        <a:buClr>
          <a:srgbClr val="FFFF66"/>
        </a:buClr>
        <a:buFont typeface="Marlett" pitchFamily="2" charset="2"/>
        <a:buChar char="8"/>
        <a:defRPr sz="2400">
          <a:solidFill>
            <a:schemeClr val="bg1"/>
          </a:solidFill>
          <a:latin typeface="+mn-lt"/>
          <a:ea typeface="+mn-ea"/>
        </a:defRPr>
      </a:lvl7pPr>
      <a:lvl8pPr marL="3747254" indent="-319766" algn="l" rtl="0" fontAlgn="base">
        <a:spcBef>
          <a:spcPct val="0"/>
        </a:spcBef>
        <a:spcAft>
          <a:spcPct val="0"/>
        </a:spcAft>
        <a:buClr>
          <a:srgbClr val="FFFF66"/>
        </a:buClr>
        <a:buFont typeface="Marlett" pitchFamily="2" charset="2"/>
        <a:buChar char="8"/>
        <a:defRPr sz="2400">
          <a:solidFill>
            <a:schemeClr val="bg1"/>
          </a:solidFill>
          <a:latin typeface="+mn-lt"/>
          <a:ea typeface="+mn-ea"/>
        </a:defRPr>
      </a:lvl8pPr>
      <a:lvl9pPr marL="4226903" indent="-319766" algn="l" rtl="0" fontAlgn="base">
        <a:spcBef>
          <a:spcPct val="0"/>
        </a:spcBef>
        <a:spcAft>
          <a:spcPct val="0"/>
        </a:spcAft>
        <a:buClr>
          <a:srgbClr val="FFFF66"/>
        </a:buClr>
        <a:buFont typeface="Marlett" pitchFamily="2" charset="2"/>
        <a:buChar char="8"/>
        <a:defRPr sz="24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it-IT"/>
      </a:defPPr>
      <a:lvl1pPr marL="0" algn="l" defTabSz="9592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9649" algn="l" defTabSz="9592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9297" algn="l" defTabSz="9592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946" algn="l" defTabSz="9592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8594" algn="l" defTabSz="9592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8243" algn="l" defTabSz="9592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7891" algn="l" defTabSz="9592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7540" algn="l" defTabSz="9592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7188" algn="l" defTabSz="9592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" name="think-cell Slide" r:id="rId19" imgW="270" imgH="270" progId="">
                  <p:embed/>
                </p:oleObj>
              </mc:Choice>
              <mc:Fallback>
                <p:oleObj name="think-cell Slide" r:id="rId19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163" y="501826"/>
            <a:ext cx="9425289" cy="7591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3" y="1564031"/>
            <a:ext cx="9425289" cy="485600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3270" y="6686001"/>
            <a:ext cx="1224137" cy="26596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latin typeface="Arial"/>
              </a:rPr>
              <a:t>20.3.2017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7407" y="6686001"/>
            <a:ext cx="6364028" cy="26596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latin typeface="Arial"/>
              </a:rPr>
              <a:t> 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8163" y="6686003"/>
            <a:ext cx="245108" cy="265627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90E5A77-D385-4CDE-8FE8-D3E3CBE93E71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fortum2016"/>
          <p:cNvSpPr>
            <a:spLocks noChangeAspect="1" noEditPoints="1"/>
          </p:cNvSpPr>
          <p:nvPr userDrawn="1"/>
        </p:nvSpPr>
        <p:spPr bwMode="auto">
          <a:xfrm>
            <a:off x="8856544" y="6647527"/>
            <a:ext cx="1036908" cy="303467"/>
          </a:xfrm>
          <a:custGeom>
            <a:avLst/>
            <a:gdLst>
              <a:gd name="T0" fmla="*/ 317 w 6630"/>
              <a:gd name="T1" fmla="*/ 622 h 1565"/>
              <a:gd name="T2" fmla="*/ 549 w 6630"/>
              <a:gd name="T3" fmla="*/ 281 h 1565"/>
              <a:gd name="T4" fmla="*/ 146 w 6630"/>
              <a:gd name="T5" fmla="*/ 254 h 1565"/>
              <a:gd name="T6" fmla="*/ 2 w 6630"/>
              <a:gd name="T7" fmla="*/ 668 h 1565"/>
              <a:gd name="T8" fmla="*/ 113 w 6630"/>
              <a:gd name="T9" fmla="*/ 1146 h 1565"/>
              <a:gd name="T10" fmla="*/ 417 w 6630"/>
              <a:gd name="T11" fmla="*/ 1452 h 1565"/>
              <a:gd name="T12" fmla="*/ 862 w 6630"/>
              <a:gd name="T13" fmla="*/ 1565 h 1565"/>
              <a:gd name="T14" fmla="*/ 1067 w 6630"/>
              <a:gd name="T15" fmla="*/ 1206 h 1565"/>
              <a:gd name="T16" fmla="*/ 718 w 6630"/>
              <a:gd name="T17" fmla="*/ 1244 h 1565"/>
              <a:gd name="T18" fmla="*/ 395 w 6630"/>
              <a:gd name="T19" fmla="*/ 1028 h 1565"/>
              <a:gd name="T20" fmla="*/ 689 w 6630"/>
              <a:gd name="T21" fmla="*/ 1169 h 1565"/>
              <a:gd name="T22" fmla="*/ 1039 w 6630"/>
              <a:gd name="T23" fmla="*/ 1148 h 1565"/>
              <a:gd name="T24" fmla="*/ 1292 w 6630"/>
              <a:gd name="T25" fmla="*/ 840 h 1565"/>
              <a:gd name="T26" fmla="*/ 1208 w 6630"/>
              <a:gd name="T27" fmla="*/ 435 h 1565"/>
              <a:gd name="T28" fmla="*/ 902 w 6630"/>
              <a:gd name="T29" fmla="*/ 264 h 1565"/>
              <a:gd name="T30" fmla="*/ 518 w 6630"/>
              <a:gd name="T31" fmla="*/ 388 h 1565"/>
              <a:gd name="T32" fmla="*/ 372 w 6630"/>
              <a:gd name="T33" fmla="*/ 702 h 1565"/>
              <a:gd name="T34" fmla="*/ 3593 w 6630"/>
              <a:gd name="T35" fmla="*/ 799 h 1565"/>
              <a:gd name="T36" fmla="*/ 3366 w 6630"/>
              <a:gd name="T37" fmla="*/ 869 h 1565"/>
              <a:gd name="T38" fmla="*/ 3297 w 6630"/>
              <a:gd name="T39" fmla="*/ 570 h 1565"/>
              <a:gd name="T40" fmla="*/ 3419 w 6630"/>
              <a:gd name="T41" fmla="*/ 595 h 1565"/>
              <a:gd name="T42" fmla="*/ 4253 w 6630"/>
              <a:gd name="T43" fmla="*/ 1275 h 1565"/>
              <a:gd name="T44" fmla="*/ 4022 w 6630"/>
              <a:gd name="T45" fmla="*/ 1243 h 1565"/>
              <a:gd name="T46" fmla="*/ 3739 w 6630"/>
              <a:gd name="T47" fmla="*/ 1222 h 1565"/>
              <a:gd name="T48" fmla="*/ 3881 w 6630"/>
              <a:gd name="T49" fmla="*/ 1458 h 1565"/>
              <a:gd name="T50" fmla="*/ 2979 w 6630"/>
              <a:gd name="T51" fmla="*/ 1024 h 1565"/>
              <a:gd name="T52" fmla="*/ 2840 w 6630"/>
              <a:gd name="T53" fmla="*/ 1384 h 1565"/>
              <a:gd name="T54" fmla="*/ 2563 w 6630"/>
              <a:gd name="T55" fmla="*/ 1502 h 1565"/>
              <a:gd name="T56" fmla="*/ 2237 w 6630"/>
              <a:gd name="T57" fmla="*/ 1402 h 1565"/>
              <a:gd name="T58" fmla="*/ 2085 w 6630"/>
              <a:gd name="T59" fmla="*/ 1074 h 1565"/>
              <a:gd name="T60" fmla="*/ 2179 w 6630"/>
              <a:gd name="T61" fmla="*/ 715 h 1565"/>
              <a:gd name="T62" fmla="*/ 2521 w 6630"/>
              <a:gd name="T63" fmla="*/ 546 h 1565"/>
              <a:gd name="T64" fmla="*/ 2907 w 6630"/>
              <a:gd name="T65" fmla="*/ 740 h 1565"/>
              <a:gd name="T66" fmla="*/ 2711 w 6630"/>
              <a:gd name="T67" fmla="*/ 938 h 1565"/>
              <a:gd name="T68" fmla="*/ 2584 w 6630"/>
              <a:gd name="T69" fmla="*/ 769 h 1565"/>
              <a:gd name="T70" fmla="*/ 2395 w 6630"/>
              <a:gd name="T71" fmla="*/ 833 h 1565"/>
              <a:gd name="T72" fmla="*/ 2349 w 6630"/>
              <a:gd name="T73" fmla="*/ 1090 h 1565"/>
              <a:gd name="T74" fmla="*/ 2495 w 6630"/>
              <a:gd name="T75" fmla="*/ 1278 h 1565"/>
              <a:gd name="T76" fmla="*/ 2670 w 6630"/>
              <a:gd name="T77" fmla="*/ 1213 h 1565"/>
              <a:gd name="T78" fmla="*/ 4906 w 6630"/>
              <a:gd name="T79" fmla="*/ 1070 h 1565"/>
              <a:gd name="T80" fmla="*/ 4796 w 6630"/>
              <a:gd name="T81" fmla="*/ 1276 h 1565"/>
              <a:gd name="T82" fmla="*/ 4627 w 6630"/>
              <a:gd name="T83" fmla="*/ 1221 h 1565"/>
              <a:gd name="T84" fmla="*/ 4342 w 6630"/>
              <a:gd name="T85" fmla="*/ 1149 h 1565"/>
              <a:gd name="T86" fmla="*/ 4475 w 6630"/>
              <a:gd name="T87" fmla="*/ 1421 h 1565"/>
              <a:gd name="T88" fmla="*/ 4831 w 6630"/>
              <a:gd name="T89" fmla="*/ 1494 h 1565"/>
              <a:gd name="T90" fmla="*/ 5106 w 6630"/>
              <a:gd name="T91" fmla="*/ 1336 h 1565"/>
              <a:gd name="T92" fmla="*/ 6626 w 6630"/>
              <a:gd name="T93" fmla="*/ 838 h 1565"/>
              <a:gd name="T94" fmla="*/ 6501 w 6630"/>
              <a:gd name="T95" fmla="*/ 594 h 1565"/>
              <a:gd name="T96" fmla="*/ 6231 w 6630"/>
              <a:gd name="T97" fmla="*/ 567 h 1565"/>
              <a:gd name="T98" fmla="*/ 6057 w 6630"/>
              <a:gd name="T99" fmla="*/ 735 h 1565"/>
              <a:gd name="T100" fmla="*/ 5910 w 6630"/>
              <a:gd name="T101" fmla="*/ 572 h 1565"/>
              <a:gd name="T102" fmla="*/ 5667 w 6630"/>
              <a:gd name="T103" fmla="*/ 579 h 1565"/>
              <a:gd name="T104" fmla="*/ 5264 w 6630"/>
              <a:gd name="T105" fmla="*/ 1024 h 1565"/>
              <a:gd name="T106" fmla="*/ 5598 w 6630"/>
              <a:gd name="T107" fmla="*/ 820 h 1565"/>
              <a:gd name="T108" fmla="*/ 5767 w 6630"/>
              <a:gd name="T109" fmla="*/ 817 h 1565"/>
              <a:gd name="T110" fmla="*/ 6077 w 6630"/>
              <a:gd name="T111" fmla="*/ 1011 h 1565"/>
              <a:gd name="T112" fmla="*/ 6169 w 6630"/>
              <a:gd name="T113" fmla="*/ 804 h 1565"/>
              <a:gd name="T114" fmla="*/ 6344 w 6630"/>
              <a:gd name="T115" fmla="*/ 837 h 1565"/>
              <a:gd name="T116" fmla="*/ 1972 w 6630"/>
              <a:gd name="T117" fmla="*/ 324 h 1565"/>
              <a:gd name="T118" fmla="*/ 2079 w 6630"/>
              <a:gd name="T119" fmla="*/ 777 h 1565"/>
              <a:gd name="T120" fmla="*/ 1685 w 6630"/>
              <a:gd name="T121" fmla="*/ 247 h 1565"/>
              <a:gd name="T122" fmla="*/ 1910 w 6630"/>
              <a:gd name="T123" fmla="*/ 98 h 1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30" h="1565">
                <a:moveTo>
                  <a:pt x="375" y="995"/>
                </a:moveTo>
                <a:lnTo>
                  <a:pt x="362" y="972"/>
                </a:lnTo>
                <a:lnTo>
                  <a:pt x="351" y="949"/>
                </a:lnTo>
                <a:lnTo>
                  <a:pt x="341" y="925"/>
                </a:lnTo>
                <a:lnTo>
                  <a:pt x="333" y="901"/>
                </a:lnTo>
                <a:lnTo>
                  <a:pt x="329" y="889"/>
                </a:lnTo>
                <a:lnTo>
                  <a:pt x="325" y="876"/>
                </a:lnTo>
                <a:lnTo>
                  <a:pt x="319" y="851"/>
                </a:lnTo>
                <a:lnTo>
                  <a:pt x="314" y="826"/>
                </a:lnTo>
                <a:lnTo>
                  <a:pt x="310" y="801"/>
                </a:lnTo>
                <a:lnTo>
                  <a:pt x="309" y="788"/>
                </a:lnTo>
                <a:lnTo>
                  <a:pt x="308" y="775"/>
                </a:lnTo>
                <a:lnTo>
                  <a:pt x="307" y="762"/>
                </a:lnTo>
                <a:lnTo>
                  <a:pt x="306" y="749"/>
                </a:lnTo>
                <a:lnTo>
                  <a:pt x="306" y="724"/>
                </a:lnTo>
                <a:lnTo>
                  <a:pt x="307" y="698"/>
                </a:lnTo>
                <a:lnTo>
                  <a:pt x="309" y="673"/>
                </a:lnTo>
                <a:lnTo>
                  <a:pt x="311" y="660"/>
                </a:lnTo>
                <a:lnTo>
                  <a:pt x="313" y="647"/>
                </a:lnTo>
                <a:lnTo>
                  <a:pt x="315" y="635"/>
                </a:lnTo>
                <a:lnTo>
                  <a:pt x="317" y="622"/>
                </a:lnTo>
                <a:lnTo>
                  <a:pt x="323" y="597"/>
                </a:lnTo>
                <a:lnTo>
                  <a:pt x="330" y="572"/>
                </a:lnTo>
                <a:lnTo>
                  <a:pt x="338" y="548"/>
                </a:lnTo>
                <a:lnTo>
                  <a:pt x="348" y="524"/>
                </a:lnTo>
                <a:lnTo>
                  <a:pt x="358" y="500"/>
                </a:lnTo>
                <a:lnTo>
                  <a:pt x="364" y="488"/>
                </a:lnTo>
                <a:lnTo>
                  <a:pt x="370" y="477"/>
                </a:lnTo>
                <a:lnTo>
                  <a:pt x="376" y="465"/>
                </a:lnTo>
                <a:lnTo>
                  <a:pt x="383" y="454"/>
                </a:lnTo>
                <a:lnTo>
                  <a:pt x="397" y="432"/>
                </a:lnTo>
                <a:lnTo>
                  <a:pt x="404" y="421"/>
                </a:lnTo>
                <a:lnTo>
                  <a:pt x="412" y="410"/>
                </a:lnTo>
                <a:lnTo>
                  <a:pt x="428" y="390"/>
                </a:lnTo>
                <a:lnTo>
                  <a:pt x="445" y="369"/>
                </a:lnTo>
                <a:lnTo>
                  <a:pt x="464" y="350"/>
                </a:lnTo>
                <a:lnTo>
                  <a:pt x="483" y="331"/>
                </a:lnTo>
                <a:lnTo>
                  <a:pt x="504" y="314"/>
                </a:lnTo>
                <a:lnTo>
                  <a:pt x="515" y="305"/>
                </a:lnTo>
                <a:lnTo>
                  <a:pt x="526" y="297"/>
                </a:lnTo>
                <a:lnTo>
                  <a:pt x="537" y="289"/>
                </a:lnTo>
                <a:lnTo>
                  <a:pt x="549" y="281"/>
                </a:lnTo>
                <a:lnTo>
                  <a:pt x="573" y="267"/>
                </a:lnTo>
                <a:lnTo>
                  <a:pt x="629" y="57"/>
                </a:lnTo>
                <a:lnTo>
                  <a:pt x="419" y="0"/>
                </a:lnTo>
                <a:lnTo>
                  <a:pt x="401" y="11"/>
                </a:lnTo>
                <a:lnTo>
                  <a:pt x="383" y="23"/>
                </a:lnTo>
                <a:lnTo>
                  <a:pt x="365" y="35"/>
                </a:lnTo>
                <a:lnTo>
                  <a:pt x="347" y="47"/>
                </a:lnTo>
                <a:lnTo>
                  <a:pt x="330" y="60"/>
                </a:lnTo>
                <a:lnTo>
                  <a:pt x="314" y="73"/>
                </a:lnTo>
                <a:lnTo>
                  <a:pt x="297" y="86"/>
                </a:lnTo>
                <a:lnTo>
                  <a:pt x="282" y="100"/>
                </a:lnTo>
                <a:lnTo>
                  <a:pt x="266" y="114"/>
                </a:lnTo>
                <a:lnTo>
                  <a:pt x="251" y="128"/>
                </a:lnTo>
                <a:lnTo>
                  <a:pt x="237" y="143"/>
                </a:lnTo>
                <a:lnTo>
                  <a:pt x="222" y="158"/>
                </a:lnTo>
                <a:lnTo>
                  <a:pt x="209" y="173"/>
                </a:lnTo>
                <a:lnTo>
                  <a:pt x="195" y="188"/>
                </a:lnTo>
                <a:lnTo>
                  <a:pt x="182" y="204"/>
                </a:lnTo>
                <a:lnTo>
                  <a:pt x="170" y="220"/>
                </a:lnTo>
                <a:lnTo>
                  <a:pt x="158" y="237"/>
                </a:lnTo>
                <a:lnTo>
                  <a:pt x="146" y="254"/>
                </a:lnTo>
                <a:lnTo>
                  <a:pt x="135" y="270"/>
                </a:lnTo>
                <a:lnTo>
                  <a:pt x="124" y="288"/>
                </a:lnTo>
                <a:lnTo>
                  <a:pt x="114" y="305"/>
                </a:lnTo>
                <a:lnTo>
                  <a:pt x="104" y="323"/>
                </a:lnTo>
                <a:lnTo>
                  <a:pt x="94" y="341"/>
                </a:lnTo>
                <a:lnTo>
                  <a:pt x="85" y="359"/>
                </a:lnTo>
                <a:lnTo>
                  <a:pt x="76" y="377"/>
                </a:lnTo>
                <a:lnTo>
                  <a:pt x="68" y="395"/>
                </a:lnTo>
                <a:lnTo>
                  <a:pt x="61" y="414"/>
                </a:lnTo>
                <a:lnTo>
                  <a:pt x="53" y="433"/>
                </a:lnTo>
                <a:lnTo>
                  <a:pt x="47" y="452"/>
                </a:lnTo>
                <a:lnTo>
                  <a:pt x="40" y="471"/>
                </a:lnTo>
                <a:lnTo>
                  <a:pt x="29" y="509"/>
                </a:lnTo>
                <a:lnTo>
                  <a:pt x="24" y="529"/>
                </a:lnTo>
                <a:lnTo>
                  <a:pt x="19" y="548"/>
                </a:lnTo>
                <a:lnTo>
                  <a:pt x="15" y="568"/>
                </a:lnTo>
                <a:lnTo>
                  <a:pt x="12" y="588"/>
                </a:lnTo>
                <a:lnTo>
                  <a:pt x="9" y="608"/>
                </a:lnTo>
                <a:lnTo>
                  <a:pt x="6" y="628"/>
                </a:lnTo>
                <a:lnTo>
                  <a:pt x="4" y="648"/>
                </a:lnTo>
                <a:lnTo>
                  <a:pt x="2" y="668"/>
                </a:lnTo>
                <a:lnTo>
                  <a:pt x="1" y="688"/>
                </a:lnTo>
                <a:lnTo>
                  <a:pt x="0" y="708"/>
                </a:lnTo>
                <a:lnTo>
                  <a:pt x="0" y="749"/>
                </a:lnTo>
                <a:lnTo>
                  <a:pt x="1" y="769"/>
                </a:lnTo>
                <a:lnTo>
                  <a:pt x="2" y="790"/>
                </a:lnTo>
                <a:lnTo>
                  <a:pt x="4" y="810"/>
                </a:lnTo>
                <a:lnTo>
                  <a:pt x="6" y="831"/>
                </a:lnTo>
                <a:lnTo>
                  <a:pt x="13" y="871"/>
                </a:lnTo>
                <a:lnTo>
                  <a:pt x="16" y="891"/>
                </a:lnTo>
                <a:lnTo>
                  <a:pt x="21" y="911"/>
                </a:lnTo>
                <a:lnTo>
                  <a:pt x="25" y="932"/>
                </a:lnTo>
                <a:lnTo>
                  <a:pt x="31" y="952"/>
                </a:lnTo>
                <a:lnTo>
                  <a:pt x="36" y="972"/>
                </a:lnTo>
                <a:lnTo>
                  <a:pt x="43" y="991"/>
                </a:lnTo>
                <a:lnTo>
                  <a:pt x="57" y="1031"/>
                </a:lnTo>
                <a:lnTo>
                  <a:pt x="65" y="1050"/>
                </a:lnTo>
                <a:lnTo>
                  <a:pt x="73" y="1070"/>
                </a:lnTo>
                <a:lnTo>
                  <a:pt x="82" y="1089"/>
                </a:lnTo>
                <a:lnTo>
                  <a:pt x="92" y="1108"/>
                </a:lnTo>
                <a:lnTo>
                  <a:pt x="102" y="1127"/>
                </a:lnTo>
                <a:lnTo>
                  <a:pt x="113" y="1146"/>
                </a:lnTo>
                <a:lnTo>
                  <a:pt x="124" y="1165"/>
                </a:lnTo>
                <a:lnTo>
                  <a:pt x="135" y="1183"/>
                </a:lnTo>
                <a:lnTo>
                  <a:pt x="147" y="1201"/>
                </a:lnTo>
                <a:lnTo>
                  <a:pt x="159" y="1218"/>
                </a:lnTo>
                <a:lnTo>
                  <a:pt x="172" y="1235"/>
                </a:lnTo>
                <a:lnTo>
                  <a:pt x="185" y="1252"/>
                </a:lnTo>
                <a:lnTo>
                  <a:pt x="198" y="1268"/>
                </a:lnTo>
                <a:lnTo>
                  <a:pt x="212" y="1284"/>
                </a:lnTo>
                <a:lnTo>
                  <a:pt x="226" y="1299"/>
                </a:lnTo>
                <a:lnTo>
                  <a:pt x="240" y="1314"/>
                </a:lnTo>
                <a:lnTo>
                  <a:pt x="255" y="1329"/>
                </a:lnTo>
                <a:lnTo>
                  <a:pt x="270" y="1343"/>
                </a:lnTo>
                <a:lnTo>
                  <a:pt x="285" y="1357"/>
                </a:lnTo>
                <a:lnTo>
                  <a:pt x="301" y="1370"/>
                </a:lnTo>
                <a:lnTo>
                  <a:pt x="317" y="1383"/>
                </a:lnTo>
                <a:lnTo>
                  <a:pt x="333" y="1396"/>
                </a:lnTo>
                <a:lnTo>
                  <a:pt x="349" y="1408"/>
                </a:lnTo>
                <a:lnTo>
                  <a:pt x="366" y="1419"/>
                </a:lnTo>
                <a:lnTo>
                  <a:pt x="383" y="1431"/>
                </a:lnTo>
                <a:lnTo>
                  <a:pt x="400" y="1441"/>
                </a:lnTo>
                <a:lnTo>
                  <a:pt x="417" y="1452"/>
                </a:lnTo>
                <a:lnTo>
                  <a:pt x="435" y="1462"/>
                </a:lnTo>
                <a:lnTo>
                  <a:pt x="453" y="1471"/>
                </a:lnTo>
                <a:lnTo>
                  <a:pt x="471" y="1480"/>
                </a:lnTo>
                <a:lnTo>
                  <a:pt x="489" y="1489"/>
                </a:lnTo>
                <a:lnTo>
                  <a:pt x="508" y="1497"/>
                </a:lnTo>
                <a:lnTo>
                  <a:pt x="526" y="1505"/>
                </a:lnTo>
                <a:lnTo>
                  <a:pt x="545" y="1512"/>
                </a:lnTo>
                <a:lnTo>
                  <a:pt x="564" y="1519"/>
                </a:lnTo>
                <a:lnTo>
                  <a:pt x="583" y="1525"/>
                </a:lnTo>
                <a:lnTo>
                  <a:pt x="622" y="1536"/>
                </a:lnTo>
                <a:lnTo>
                  <a:pt x="641" y="1541"/>
                </a:lnTo>
                <a:lnTo>
                  <a:pt x="661" y="1546"/>
                </a:lnTo>
                <a:lnTo>
                  <a:pt x="680" y="1550"/>
                </a:lnTo>
                <a:lnTo>
                  <a:pt x="700" y="1554"/>
                </a:lnTo>
                <a:lnTo>
                  <a:pt x="720" y="1557"/>
                </a:lnTo>
                <a:lnTo>
                  <a:pt x="740" y="1559"/>
                </a:lnTo>
                <a:lnTo>
                  <a:pt x="760" y="1561"/>
                </a:lnTo>
                <a:lnTo>
                  <a:pt x="780" y="1563"/>
                </a:lnTo>
                <a:lnTo>
                  <a:pt x="800" y="1564"/>
                </a:lnTo>
                <a:lnTo>
                  <a:pt x="821" y="1565"/>
                </a:lnTo>
                <a:lnTo>
                  <a:pt x="862" y="1565"/>
                </a:lnTo>
                <a:lnTo>
                  <a:pt x="882" y="1564"/>
                </a:lnTo>
                <a:lnTo>
                  <a:pt x="903" y="1563"/>
                </a:lnTo>
                <a:lnTo>
                  <a:pt x="923" y="1561"/>
                </a:lnTo>
                <a:lnTo>
                  <a:pt x="943" y="1559"/>
                </a:lnTo>
                <a:lnTo>
                  <a:pt x="984" y="1553"/>
                </a:lnTo>
                <a:lnTo>
                  <a:pt x="1004" y="1549"/>
                </a:lnTo>
                <a:lnTo>
                  <a:pt x="1024" y="1545"/>
                </a:lnTo>
                <a:lnTo>
                  <a:pt x="1044" y="1540"/>
                </a:lnTo>
                <a:lnTo>
                  <a:pt x="1064" y="1535"/>
                </a:lnTo>
                <a:lnTo>
                  <a:pt x="1084" y="1529"/>
                </a:lnTo>
                <a:lnTo>
                  <a:pt x="1104" y="1522"/>
                </a:lnTo>
                <a:lnTo>
                  <a:pt x="1143" y="1508"/>
                </a:lnTo>
                <a:lnTo>
                  <a:pt x="1163" y="1500"/>
                </a:lnTo>
                <a:lnTo>
                  <a:pt x="1182" y="1492"/>
                </a:lnTo>
                <a:lnTo>
                  <a:pt x="1202" y="1483"/>
                </a:lnTo>
                <a:lnTo>
                  <a:pt x="1221" y="1473"/>
                </a:lnTo>
                <a:lnTo>
                  <a:pt x="1240" y="1463"/>
                </a:lnTo>
                <a:lnTo>
                  <a:pt x="1259" y="1453"/>
                </a:lnTo>
                <a:lnTo>
                  <a:pt x="1105" y="1187"/>
                </a:lnTo>
                <a:lnTo>
                  <a:pt x="1080" y="1200"/>
                </a:lnTo>
                <a:lnTo>
                  <a:pt x="1067" y="1206"/>
                </a:lnTo>
                <a:lnTo>
                  <a:pt x="1055" y="1212"/>
                </a:lnTo>
                <a:lnTo>
                  <a:pt x="1029" y="1223"/>
                </a:lnTo>
                <a:lnTo>
                  <a:pt x="1016" y="1227"/>
                </a:lnTo>
                <a:lnTo>
                  <a:pt x="1004" y="1232"/>
                </a:lnTo>
                <a:lnTo>
                  <a:pt x="991" y="1236"/>
                </a:lnTo>
                <a:lnTo>
                  <a:pt x="978" y="1240"/>
                </a:lnTo>
                <a:lnTo>
                  <a:pt x="965" y="1243"/>
                </a:lnTo>
                <a:lnTo>
                  <a:pt x="952" y="1246"/>
                </a:lnTo>
                <a:lnTo>
                  <a:pt x="939" y="1248"/>
                </a:lnTo>
                <a:lnTo>
                  <a:pt x="926" y="1251"/>
                </a:lnTo>
                <a:lnTo>
                  <a:pt x="899" y="1254"/>
                </a:lnTo>
                <a:lnTo>
                  <a:pt x="873" y="1257"/>
                </a:lnTo>
                <a:lnTo>
                  <a:pt x="860" y="1257"/>
                </a:lnTo>
                <a:lnTo>
                  <a:pt x="847" y="1258"/>
                </a:lnTo>
                <a:lnTo>
                  <a:pt x="820" y="1257"/>
                </a:lnTo>
                <a:lnTo>
                  <a:pt x="794" y="1256"/>
                </a:lnTo>
                <a:lnTo>
                  <a:pt x="768" y="1253"/>
                </a:lnTo>
                <a:lnTo>
                  <a:pt x="756" y="1251"/>
                </a:lnTo>
                <a:lnTo>
                  <a:pt x="743" y="1249"/>
                </a:lnTo>
                <a:lnTo>
                  <a:pt x="730" y="1247"/>
                </a:lnTo>
                <a:lnTo>
                  <a:pt x="718" y="1244"/>
                </a:lnTo>
                <a:lnTo>
                  <a:pt x="693" y="1238"/>
                </a:lnTo>
                <a:lnTo>
                  <a:pt x="680" y="1234"/>
                </a:lnTo>
                <a:lnTo>
                  <a:pt x="668" y="1230"/>
                </a:lnTo>
                <a:lnTo>
                  <a:pt x="644" y="1222"/>
                </a:lnTo>
                <a:lnTo>
                  <a:pt x="632" y="1217"/>
                </a:lnTo>
                <a:lnTo>
                  <a:pt x="620" y="1212"/>
                </a:lnTo>
                <a:lnTo>
                  <a:pt x="597" y="1201"/>
                </a:lnTo>
                <a:lnTo>
                  <a:pt x="574" y="1189"/>
                </a:lnTo>
                <a:lnTo>
                  <a:pt x="552" y="1176"/>
                </a:lnTo>
                <a:lnTo>
                  <a:pt x="541" y="1170"/>
                </a:lnTo>
                <a:lnTo>
                  <a:pt x="531" y="1162"/>
                </a:lnTo>
                <a:lnTo>
                  <a:pt x="520" y="1155"/>
                </a:lnTo>
                <a:lnTo>
                  <a:pt x="510" y="1148"/>
                </a:lnTo>
                <a:lnTo>
                  <a:pt x="490" y="1132"/>
                </a:lnTo>
                <a:lnTo>
                  <a:pt x="471" y="1115"/>
                </a:lnTo>
                <a:lnTo>
                  <a:pt x="453" y="1097"/>
                </a:lnTo>
                <a:lnTo>
                  <a:pt x="444" y="1088"/>
                </a:lnTo>
                <a:lnTo>
                  <a:pt x="435" y="1078"/>
                </a:lnTo>
                <a:lnTo>
                  <a:pt x="418" y="1059"/>
                </a:lnTo>
                <a:lnTo>
                  <a:pt x="403" y="1038"/>
                </a:lnTo>
                <a:lnTo>
                  <a:pt x="395" y="1028"/>
                </a:lnTo>
                <a:lnTo>
                  <a:pt x="388" y="1017"/>
                </a:lnTo>
                <a:lnTo>
                  <a:pt x="381" y="1006"/>
                </a:lnTo>
                <a:lnTo>
                  <a:pt x="375" y="995"/>
                </a:lnTo>
                <a:close/>
                <a:moveTo>
                  <a:pt x="431" y="962"/>
                </a:moveTo>
                <a:lnTo>
                  <a:pt x="443" y="982"/>
                </a:lnTo>
                <a:lnTo>
                  <a:pt x="456" y="1000"/>
                </a:lnTo>
                <a:lnTo>
                  <a:pt x="469" y="1018"/>
                </a:lnTo>
                <a:lnTo>
                  <a:pt x="484" y="1035"/>
                </a:lnTo>
                <a:lnTo>
                  <a:pt x="499" y="1052"/>
                </a:lnTo>
                <a:lnTo>
                  <a:pt x="516" y="1067"/>
                </a:lnTo>
                <a:lnTo>
                  <a:pt x="532" y="1082"/>
                </a:lnTo>
                <a:lnTo>
                  <a:pt x="550" y="1096"/>
                </a:lnTo>
                <a:lnTo>
                  <a:pt x="568" y="1109"/>
                </a:lnTo>
                <a:lnTo>
                  <a:pt x="587" y="1121"/>
                </a:lnTo>
                <a:lnTo>
                  <a:pt x="597" y="1127"/>
                </a:lnTo>
                <a:lnTo>
                  <a:pt x="606" y="1133"/>
                </a:lnTo>
                <a:lnTo>
                  <a:pt x="626" y="1143"/>
                </a:lnTo>
                <a:lnTo>
                  <a:pt x="647" y="1153"/>
                </a:lnTo>
                <a:lnTo>
                  <a:pt x="667" y="1161"/>
                </a:lnTo>
                <a:lnTo>
                  <a:pt x="678" y="1165"/>
                </a:lnTo>
                <a:lnTo>
                  <a:pt x="689" y="1169"/>
                </a:lnTo>
                <a:lnTo>
                  <a:pt x="710" y="1175"/>
                </a:lnTo>
                <a:lnTo>
                  <a:pt x="721" y="1178"/>
                </a:lnTo>
                <a:lnTo>
                  <a:pt x="732" y="1181"/>
                </a:lnTo>
                <a:lnTo>
                  <a:pt x="743" y="1183"/>
                </a:lnTo>
                <a:lnTo>
                  <a:pt x="754" y="1185"/>
                </a:lnTo>
                <a:lnTo>
                  <a:pt x="777" y="1189"/>
                </a:lnTo>
                <a:lnTo>
                  <a:pt x="799" y="1191"/>
                </a:lnTo>
                <a:lnTo>
                  <a:pt x="811" y="1192"/>
                </a:lnTo>
                <a:lnTo>
                  <a:pt x="822" y="1193"/>
                </a:lnTo>
                <a:lnTo>
                  <a:pt x="846" y="1193"/>
                </a:lnTo>
                <a:lnTo>
                  <a:pt x="858" y="1193"/>
                </a:lnTo>
                <a:lnTo>
                  <a:pt x="869" y="1192"/>
                </a:lnTo>
                <a:lnTo>
                  <a:pt x="892" y="1190"/>
                </a:lnTo>
                <a:lnTo>
                  <a:pt x="904" y="1188"/>
                </a:lnTo>
                <a:lnTo>
                  <a:pt x="915" y="1187"/>
                </a:lnTo>
                <a:lnTo>
                  <a:pt x="938" y="1182"/>
                </a:lnTo>
                <a:lnTo>
                  <a:pt x="961" y="1177"/>
                </a:lnTo>
                <a:lnTo>
                  <a:pt x="984" y="1170"/>
                </a:lnTo>
                <a:lnTo>
                  <a:pt x="1006" y="1162"/>
                </a:lnTo>
                <a:lnTo>
                  <a:pt x="1028" y="1153"/>
                </a:lnTo>
                <a:lnTo>
                  <a:pt x="1039" y="1148"/>
                </a:lnTo>
                <a:lnTo>
                  <a:pt x="1050" y="1142"/>
                </a:lnTo>
                <a:lnTo>
                  <a:pt x="1072" y="1130"/>
                </a:lnTo>
                <a:lnTo>
                  <a:pt x="1093" y="1117"/>
                </a:lnTo>
                <a:lnTo>
                  <a:pt x="1104" y="1111"/>
                </a:lnTo>
                <a:lnTo>
                  <a:pt x="1114" y="1103"/>
                </a:lnTo>
                <a:lnTo>
                  <a:pt x="1133" y="1089"/>
                </a:lnTo>
                <a:lnTo>
                  <a:pt x="1151" y="1073"/>
                </a:lnTo>
                <a:lnTo>
                  <a:pt x="1160" y="1065"/>
                </a:lnTo>
                <a:lnTo>
                  <a:pt x="1169" y="1057"/>
                </a:lnTo>
                <a:lnTo>
                  <a:pt x="1185" y="1040"/>
                </a:lnTo>
                <a:lnTo>
                  <a:pt x="1200" y="1022"/>
                </a:lnTo>
                <a:lnTo>
                  <a:pt x="1215" y="1004"/>
                </a:lnTo>
                <a:lnTo>
                  <a:pt x="1228" y="985"/>
                </a:lnTo>
                <a:lnTo>
                  <a:pt x="1240" y="965"/>
                </a:lnTo>
                <a:lnTo>
                  <a:pt x="1246" y="955"/>
                </a:lnTo>
                <a:lnTo>
                  <a:pt x="1251" y="945"/>
                </a:lnTo>
                <a:lnTo>
                  <a:pt x="1262" y="925"/>
                </a:lnTo>
                <a:lnTo>
                  <a:pt x="1271" y="904"/>
                </a:lnTo>
                <a:lnTo>
                  <a:pt x="1279" y="883"/>
                </a:lnTo>
                <a:lnTo>
                  <a:pt x="1286" y="862"/>
                </a:lnTo>
                <a:lnTo>
                  <a:pt x="1292" y="840"/>
                </a:lnTo>
                <a:lnTo>
                  <a:pt x="1297" y="818"/>
                </a:lnTo>
                <a:lnTo>
                  <a:pt x="1301" y="796"/>
                </a:lnTo>
                <a:lnTo>
                  <a:pt x="1304" y="772"/>
                </a:lnTo>
                <a:lnTo>
                  <a:pt x="1306" y="750"/>
                </a:lnTo>
                <a:lnTo>
                  <a:pt x="1307" y="728"/>
                </a:lnTo>
                <a:lnTo>
                  <a:pt x="1307" y="705"/>
                </a:lnTo>
                <a:lnTo>
                  <a:pt x="1306" y="683"/>
                </a:lnTo>
                <a:lnTo>
                  <a:pt x="1303" y="661"/>
                </a:lnTo>
                <a:lnTo>
                  <a:pt x="1300" y="639"/>
                </a:lnTo>
                <a:lnTo>
                  <a:pt x="1296" y="617"/>
                </a:lnTo>
                <a:lnTo>
                  <a:pt x="1290" y="595"/>
                </a:lnTo>
                <a:lnTo>
                  <a:pt x="1284" y="573"/>
                </a:lnTo>
                <a:lnTo>
                  <a:pt x="1276" y="552"/>
                </a:lnTo>
                <a:lnTo>
                  <a:pt x="1272" y="542"/>
                </a:lnTo>
                <a:lnTo>
                  <a:pt x="1267" y="531"/>
                </a:lnTo>
                <a:lnTo>
                  <a:pt x="1262" y="521"/>
                </a:lnTo>
                <a:lnTo>
                  <a:pt x="1257" y="511"/>
                </a:lnTo>
                <a:lnTo>
                  <a:pt x="1247" y="491"/>
                </a:lnTo>
                <a:lnTo>
                  <a:pt x="1235" y="472"/>
                </a:lnTo>
                <a:lnTo>
                  <a:pt x="1222" y="453"/>
                </a:lnTo>
                <a:lnTo>
                  <a:pt x="1208" y="435"/>
                </a:lnTo>
                <a:lnTo>
                  <a:pt x="1194" y="418"/>
                </a:lnTo>
                <a:lnTo>
                  <a:pt x="1178" y="401"/>
                </a:lnTo>
                <a:lnTo>
                  <a:pt x="1162" y="386"/>
                </a:lnTo>
                <a:lnTo>
                  <a:pt x="1145" y="371"/>
                </a:lnTo>
                <a:lnTo>
                  <a:pt x="1128" y="357"/>
                </a:lnTo>
                <a:lnTo>
                  <a:pt x="1119" y="350"/>
                </a:lnTo>
                <a:lnTo>
                  <a:pt x="1110" y="344"/>
                </a:lnTo>
                <a:lnTo>
                  <a:pt x="1091" y="332"/>
                </a:lnTo>
                <a:lnTo>
                  <a:pt x="1082" y="326"/>
                </a:lnTo>
                <a:lnTo>
                  <a:pt x="1072" y="320"/>
                </a:lnTo>
                <a:lnTo>
                  <a:pt x="1052" y="310"/>
                </a:lnTo>
                <a:lnTo>
                  <a:pt x="1032" y="300"/>
                </a:lnTo>
                <a:lnTo>
                  <a:pt x="1011" y="292"/>
                </a:lnTo>
                <a:lnTo>
                  <a:pt x="1000" y="288"/>
                </a:lnTo>
                <a:lnTo>
                  <a:pt x="990" y="284"/>
                </a:lnTo>
                <a:lnTo>
                  <a:pt x="968" y="278"/>
                </a:lnTo>
                <a:lnTo>
                  <a:pt x="957" y="275"/>
                </a:lnTo>
                <a:lnTo>
                  <a:pt x="946" y="272"/>
                </a:lnTo>
                <a:lnTo>
                  <a:pt x="935" y="270"/>
                </a:lnTo>
                <a:lnTo>
                  <a:pt x="924" y="267"/>
                </a:lnTo>
                <a:lnTo>
                  <a:pt x="902" y="264"/>
                </a:lnTo>
                <a:lnTo>
                  <a:pt x="879" y="261"/>
                </a:lnTo>
                <a:lnTo>
                  <a:pt x="868" y="261"/>
                </a:lnTo>
                <a:lnTo>
                  <a:pt x="856" y="260"/>
                </a:lnTo>
                <a:lnTo>
                  <a:pt x="833" y="260"/>
                </a:lnTo>
                <a:lnTo>
                  <a:pt x="821" y="260"/>
                </a:lnTo>
                <a:lnTo>
                  <a:pt x="809" y="261"/>
                </a:lnTo>
                <a:lnTo>
                  <a:pt x="786" y="263"/>
                </a:lnTo>
                <a:lnTo>
                  <a:pt x="775" y="264"/>
                </a:lnTo>
                <a:lnTo>
                  <a:pt x="763" y="266"/>
                </a:lnTo>
                <a:lnTo>
                  <a:pt x="740" y="270"/>
                </a:lnTo>
                <a:lnTo>
                  <a:pt x="718" y="276"/>
                </a:lnTo>
                <a:lnTo>
                  <a:pt x="695" y="283"/>
                </a:lnTo>
                <a:lnTo>
                  <a:pt x="672" y="291"/>
                </a:lnTo>
                <a:lnTo>
                  <a:pt x="650" y="300"/>
                </a:lnTo>
                <a:lnTo>
                  <a:pt x="627" y="311"/>
                </a:lnTo>
                <a:lnTo>
                  <a:pt x="605" y="323"/>
                </a:lnTo>
                <a:lnTo>
                  <a:pt x="584" y="336"/>
                </a:lnTo>
                <a:lnTo>
                  <a:pt x="564" y="350"/>
                </a:lnTo>
                <a:lnTo>
                  <a:pt x="545" y="364"/>
                </a:lnTo>
                <a:lnTo>
                  <a:pt x="527" y="380"/>
                </a:lnTo>
                <a:lnTo>
                  <a:pt x="518" y="388"/>
                </a:lnTo>
                <a:lnTo>
                  <a:pt x="510" y="396"/>
                </a:lnTo>
                <a:lnTo>
                  <a:pt x="493" y="413"/>
                </a:lnTo>
                <a:lnTo>
                  <a:pt x="478" y="431"/>
                </a:lnTo>
                <a:lnTo>
                  <a:pt x="471" y="440"/>
                </a:lnTo>
                <a:lnTo>
                  <a:pt x="464" y="449"/>
                </a:lnTo>
                <a:lnTo>
                  <a:pt x="451" y="468"/>
                </a:lnTo>
                <a:lnTo>
                  <a:pt x="438" y="487"/>
                </a:lnTo>
                <a:lnTo>
                  <a:pt x="433" y="497"/>
                </a:lnTo>
                <a:lnTo>
                  <a:pt x="427" y="507"/>
                </a:lnTo>
                <a:lnTo>
                  <a:pt x="417" y="528"/>
                </a:lnTo>
                <a:lnTo>
                  <a:pt x="408" y="549"/>
                </a:lnTo>
                <a:lnTo>
                  <a:pt x="404" y="559"/>
                </a:lnTo>
                <a:lnTo>
                  <a:pt x="400" y="570"/>
                </a:lnTo>
                <a:lnTo>
                  <a:pt x="392" y="591"/>
                </a:lnTo>
                <a:lnTo>
                  <a:pt x="386" y="613"/>
                </a:lnTo>
                <a:lnTo>
                  <a:pt x="384" y="624"/>
                </a:lnTo>
                <a:lnTo>
                  <a:pt x="381" y="635"/>
                </a:lnTo>
                <a:lnTo>
                  <a:pt x="379" y="646"/>
                </a:lnTo>
                <a:lnTo>
                  <a:pt x="377" y="657"/>
                </a:lnTo>
                <a:lnTo>
                  <a:pt x="374" y="679"/>
                </a:lnTo>
                <a:lnTo>
                  <a:pt x="372" y="702"/>
                </a:lnTo>
                <a:lnTo>
                  <a:pt x="371" y="724"/>
                </a:lnTo>
                <a:lnTo>
                  <a:pt x="371" y="747"/>
                </a:lnTo>
                <a:lnTo>
                  <a:pt x="372" y="758"/>
                </a:lnTo>
                <a:lnTo>
                  <a:pt x="372" y="769"/>
                </a:lnTo>
                <a:lnTo>
                  <a:pt x="373" y="781"/>
                </a:lnTo>
                <a:lnTo>
                  <a:pt x="375" y="792"/>
                </a:lnTo>
                <a:lnTo>
                  <a:pt x="378" y="815"/>
                </a:lnTo>
                <a:lnTo>
                  <a:pt x="382" y="837"/>
                </a:lnTo>
                <a:lnTo>
                  <a:pt x="388" y="858"/>
                </a:lnTo>
                <a:lnTo>
                  <a:pt x="394" y="880"/>
                </a:lnTo>
                <a:lnTo>
                  <a:pt x="402" y="901"/>
                </a:lnTo>
                <a:lnTo>
                  <a:pt x="406" y="911"/>
                </a:lnTo>
                <a:lnTo>
                  <a:pt x="410" y="922"/>
                </a:lnTo>
                <a:lnTo>
                  <a:pt x="415" y="932"/>
                </a:lnTo>
                <a:lnTo>
                  <a:pt x="420" y="942"/>
                </a:lnTo>
                <a:lnTo>
                  <a:pt x="431" y="962"/>
                </a:lnTo>
                <a:close/>
                <a:moveTo>
                  <a:pt x="3652" y="820"/>
                </a:moveTo>
                <a:lnTo>
                  <a:pt x="3636" y="813"/>
                </a:lnTo>
                <a:lnTo>
                  <a:pt x="3621" y="807"/>
                </a:lnTo>
                <a:lnTo>
                  <a:pt x="3606" y="802"/>
                </a:lnTo>
                <a:lnTo>
                  <a:pt x="3593" y="799"/>
                </a:lnTo>
                <a:lnTo>
                  <a:pt x="3579" y="796"/>
                </a:lnTo>
                <a:lnTo>
                  <a:pt x="3564" y="795"/>
                </a:lnTo>
                <a:lnTo>
                  <a:pt x="3549" y="794"/>
                </a:lnTo>
                <a:lnTo>
                  <a:pt x="3533" y="793"/>
                </a:lnTo>
                <a:lnTo>
                  <a:pt x="3520" y="794"/>
                </a:lnTo>
                <a:lnTo>
                  <a:pt x="3507" y="795"/>
                </a:lnTo>
                <a:lnTo>
                  <a:pt x="3494" y="796"/>
                </a:lnTo>
                <a:lnTo>
                  <a:pt x="3488" y="797"/>
                </a:lnTo>
                <a:lnTo>
                  <a:pt x="3482" y="798"/>
                </a:lnTo>
                <a:lnTo>
                  <a:pt x="3470" y="801"/>
                </a:lnTo>
                <a:lnTo>
                  <a:pt x="3458" y="804"/>
                </a:lnTo>
                <a:lnTo>
                  <a:pt x="3447" y="808"/>
                </a:lnTo>
                <a:lnTo>
                  <a:pt x="3437" y="813"/>
                </a:lnTo>
                <a:lnTo>
                  <a:pt x="3426" y="818"/>
                </a:lnTo>
                <a:lnTo>
                  <a:pt x="3417" y="824"/>
                </a:lnTo>
                <a:lnTo>
                  <a:pt x="3407" y="830"/>
                </a:lnTo>
                <a:lnTo>
                  <a:pt x="3398" y="837"/>
                </a:lnTo>
                <a:lnTo>
                  <a:pt x="3389" y="844"/>
                </a:lnTo>
                <a:lnTo>
                  <a:pt x="3381" y="852"/>
                </a:lnTo>
                <a:lnTo>
                  <a:pt x="3373" y="860"/>
                </a:lnTo>
                <a:lnTo>
                  <a:pt x="3366" y="869"/>
                </a:lnTo>
                <a:lnTo>
                  <a:pt x="3359" y="878"/>
                </a:lnTo>
                <a:lnTo>
                  <a:pt x="3352" y="888"/>
                </a:lnTo>
                <a:lnTo>
                  <a:pt x="3346" y="899"/>
                </a:lnTo>
                <a:lnTo>
                  <a:pt x="3340" y="910"/>
                </a:lnTo>
                <a:lnTo>
                  <a:pt x="3335" y="921"/>
                </a:lnTo>
                <a:lnTo>
                  <a:pt x="3330" y="933"/>
                </a:lnTo>
                <a:lnTo>
                  <a:pt x="3325" y="945"/>
                </a:lnTo>
                <a:lnTo>
                  <a:pt x="3321" y="958"/>
                </a:lnTo>
                <a:lnTo>
                  <a:pt x="3318" y="971"/>
                </a:lnTo>
                <a:lnTo>
                  <a:pt x="3315" y="985"/>
                </a:lnTo>
                <a:lnTo>
                  <a:pt x="3312" y="999"/>
                </a:lnTo>
                <a:lnTo>
                  <a:pt x="3310" y="1013"/>
                </a:lnTo>
                <a:lnTo>
                  <a:pt x="3308" y="1028"/>
                </a:lnTo>
                <a:lnTo>
                  <a:pt x="3307" y="1044"/>
                </a:lnTo>
                <a:lnTo>
                  <a:pt x="3306" y="1059"/>
                </a:lnTo>
                <a:lnTo>
                  <a:pt x="3306" y="1076"/>
                </a:lnTo>
                <a:lnTo>
                  <a:pt x="3306" y="1478"/>
                </a:lnTo>
                <a:lnTo>
                  <a:pt x="3048" y="1478"/>
                </a:lnTo>
                <a:lnTo>
                  <a:pt x="3048" y="1024"/>
                </a:lnTo>
                <a:lnTo>
                  <a:pt x="3048" y="570"/>
                </a:lnTo>
                <a:lnTo>
                  <a:pt x="3297" y="570"/>
                </a:lnTo>
                <a:lnTo>
                  <a:pt x="3297" y="776"/>
                </a:lnTo>
                <a:lnTo>
                  <a:pt x="3300" y="764"/>
                </a:lnTo>
                <a:lnTo>
                  <a:pt x="3304" y="751"/>
                </a:lnTo>
                <a:lnTo>
                  <a:pt x="3308" y="739"/>
                </a:lnTo>
                <a:lnTo>
                  <a:pt x="3312" y="727"/>
                </a:lnTo>
                <a:lnTo>
                  <a:pt x="3317" y="716"/>
                </a:lnTo>
                <a:lnTo>
                  <a:pt x="3322" y="705"/>
                </a:lnTo>
                <a:lnTo>
                  <a:pt x="3327" y="694"/>
                </a:lnTo>
                <a:lnTo>
                  <a:pt x="3333" y="684"/>
                </a:lnTo>
                <a:lnTo>
                  <a:pt x="3339" y="674"/>
                </a:lnTo>
                <a:lnTo>
                  <a:pt x="3346" y="664"/>
                </a:lnTo>
                <a:lnTo>
                  <a:pt x="3352" y="655"/>
                </a:lnTo>
                <a:lnTo>
                  <a:pt x="3360" y="646"/>
                </a:lnTo>
                <a:lnTo>
                  <a:pt x="3367" y="638"/>
                </a:lnTo>
                <a:lnTo>
                  <a:pt x="3375" y="630"/>
                </a:lnTo>
                <a:lnTo>
                  <a:pt x="3383" y="622"/>
                </a:lnTo>
                <a:lnTo>
                  <a:pt x="3392" y="615"/>
                </a:lnTo>
                <a:lnTo>
                  <a:pt x="3396" y="611"/>
                </a:lnTo>
                <a:lnTo>
                  <a:pt x="3401" y="608"/>
                </a:lnTo>
                <a:lnTo>
                  <a:pt x="3410" y="601"/>
                </a:lnTo>
                <a:lnTo>
                  <a:pt x="3419" y="595"/>
                </a:lnTo>
                <a:lnTo>
                  <a:pt x="3429" y="590"/>
                </a:lnTo>
                <a:lnTo>
                  <a:pt x="3439" y="585"/>
                </a:lnTo>
                <a:lnTo>
                  <a:pt x="3450" y="580"/>
                </a:lnTo>
                <a:lnTo>
                  <a:pt x="3461" y="576"/>
                </a:lnTo>
                <a:lnTo>
                  <a:pt x="3472" y="572"/>
                </a:lnTo>
                <a:lnTo>
                  <a:pt x="3483" y="568"/>
                </a:lnTo>
                <a:lnTo>
                  <a:pt x="3495" y="565"/>
                </a:lnTo>
                <a:lnTo>
                  <a:pt x="3507" y="563"/>
                </a:lnTo>
                <a:lnTo>
                  <a:pt x="3519" y="561"/>
                </a:lnTo>
                <a:lnTo>
                  <a:pt x="3531" y="559"/>
                </a:lnTo>
                <a:lnTo>
                  <a:pt x="3544" y="558"/>
                </a:lnTo>
                <a:lnTo>
                  <a:pt x="3557" y="557"/>
                </a:lnTo>
                <a:lnTo>
                  <a:pt x="3571" y="557"/>
                </a:lnTo>
                <a:lnTo>
                  <a:pt x="3589" y="557"/>
                </a:lnTo>
                <a:lnTo>
                  <a:pt x="3599" y="558"/>
                </a:lnTo>
                <a:lnTo>
                  <a:pt x="3609" y="559"/>
                </a:lnTo>
                <a:lnTo>
                  <a:pt x="3629" y="562"/>
                </a:lnTo>
                <a:lnTo>
                  <a:pt x="3652" y="566"/>
                </a:lnTo>
                <a:lnTo>
                  <a:pt x="3652" y="820"/>
                </a:lnTo>
                <a:close/>
                <a:moveTo>
                  <a:pt x="4253" y="1478"/>
                </a:moveTo>
                <a:lnTo>
                  <a:pt x="4253" y="1275"/>
                </a:lnTo>
                <a:lnTo>
                  <a:pt x="4238" y="1278"/>
                </a:lnTo>
                <a:lnTo>
                  <a:pt x="4224" y="1281"/>
                </a:lnTo>
                <a:lnTo>
                  <a:pt x="4211" y="1283"/>
                </a:lnTo>
                <a:lnTo>
                  <a:pt x="4199" y="1284"/>
                </a:lnTo>
                <a:lnTo>
                  <a:pt x="4174" y="1286"/>
                </a:lnTo>
                <a:lnTo>
                  <a:pt x="4147" y="1286"/>
                </a:lnTo>
                <a:lnTo>
                  <a:pt x="4125" y="1286"/>
                </a:lnTo>
                <a:lnTo>
                  <a:pt x="4116" y="1285"/>
                </a:lnTo>
                <a:lnTo>
                  <a:pt x="4106" y="1284"/>
                </a:lnTo>
                <a:lnTo>
                  <a:pt x="4089" y="1281"/>
                </a:lnTo>
                <a:lnTo>
                  <a:pt x="4081" y="1280"/>
                </a:lnTo>
                <a:lnTo>
                  <a:pt x="4074" y="1278"/>
                </a:lnTo>
                <a:lnTo>
                  <a:pt x="4066" y="1275"/>
                </a:lnTo>
                <a:lnTo>
                  <a:pt x="4060" y="1272"/>
                </a:lnTo>
                <a:lnTo>
                  <a:pt x="4053" y="1269"/>
                </a:lnTo>
                <a:lnTo>
                  <a:pt x="4047" y="1266"/>
                </a:lnTo>
                <a:lnTo>
                  <a:pt x="4042" y="1262"/>
                </a:lnTo>
                <a:lnTo>
                  <a:pt x="4036" y="1258"/>
                </a:lnTo>
                <a:lnTo>
                  <a:pt x="4031" y="1253"/>
                </a:lnTo>
                <a:lnTo>
                  <a:pt x="4027" y="1248"/>
                </a:lnTo>
                <a:lnTo>
                  <a:pt x="4022" y="1243"/>
                </a:lnTo>
                <a:lnTo>
                  <a:pt x="4019" y="1238"/>
                </a:lnTo>
                <a:lnTo>
                  <a:pt x="4012" y="1225"/>
                </a:lnTo>
                <a:lnTo>
                  <a:pt x="4009" y="1218"/>
                </a:lnTo>
                <a:lnTo>
                  <a:pt x="4006" y="1211"/>
                </a:lnTo>
                <a:lnTo>
                  <a:pt x="4004" y="1203"/>
                </a:lnTo>
                <a:lnTo>
                  <a:pt x="4001" y="1195"/>
                </a:lnTo>
                <a:lnTo>
                  <a:pt x="3998" y="1178"/>
                </a:lnTo>
                <a:lnTo>
                  <a:pt x="3997" y="1168"/>
                </a:lnTo>
                <a:lnTo>
                  <a:pt x="3996" y="1158"/>
                </a:lnTo>
                <a:lnTo>
                  <a:pt x="3994" y="1137"/>
                </a:lnTo>
                <a:lnTo>
                  <a:pt x="3994" y="1114"/>
                </a:lnTo>
                <a:lnTo>
                  <a:pt x="3994" y="775"/>
                </a:lnTo>
                <a:lnTo>
                  <a:pt x="4242" y="775"/>
                </a:lnTo>
                <a:lnTo>
                  <a:pt x="4242" y="574"/>
                </a:lnTo>
                <a:lnTo>
                  <a:pt x="3994" y="574"/>
                </a:lnTo>
                <a:lnTo>
                  <a:pt x="3994" y="280"/>
                </a:lnTo>
                <a:lnTo>
                  <a:pt x="3736" y="426"/>
                </a:lnTo>
                <a:lnTo>
                  <a:pt x="3736" y="1160"/>
                </a:lnTo>
                <a:lnTo>
                  <a:pt x="3736" y="1182"/>
                </a:lnTo>
                <a:lnTo>
                  <a:pt x="3737" y="1202"/>
                </a:lnTo>
                <a:lnTo>
                  <a:pt x="3739" y="1222"/>
                </a:lnTo>
                <a:lnTo>
                  <a:pt x="3741" y="1241"/>
                </a:lnTo>
                <a:lnTo>
                  <a:pt x="3742" y="1251"/>
                </a:lnTo>
                <a:lnTo>
                  <a:pt x="3744" y="1260"/>
                </a:lnTo>
                <a:lnTo>
                  <a:pt x="3747" y="1278"/>
                </a:lnTo>
                <a:lnTo>
                  <a:pt x="3751" y="1295"/>
                </a:lnTo>
                <a:lnTo>
                  <a:pt x="3756" y="1311"/>
                </a:lnTo>
                <a:lnTo>
                  <a:pt x="3762" y="1326"/>
                </a:lnTo>
                <a:lnTo>
                  <a:pt x="3768" y="1341"/>
                </a:lnTo>
                <a:lnTo>
                  <a:pt x="3775" y="1355"/>
                </a:lnTo>
                <a:lnTo>
                  <a:pt x="3782" y="1369"/>
                </a:lnTo>
                <a:lnTo>
                  <a:pt x="3790" y="1381"/>
                </a:lnTo>
                <a:lnTo>
                  <a:pt x="3799" y="1393"/>
                </a:lnTo>
                <a:lnTo>
                  <a:pt x="3804" y="1399"/>
                </a:lnTo>
                <a:lnTo>
                  <a:pt x="3809" y="1405"/>
                </a:lnTo>
                <a:lnTo>
                  <a:pt x="3814" y="1410"/>
                </a:lnTo>
                <a:lnTo>
                  <a:pt x="3819" y="1415"/>
                </a:lnTo>
                <a:lnTo>
                  <a:pt x="3830" y="1425"/>
                </a:lnTo>
                <a:lnTo>
                  <a:pt x="3842" y="1434"/>
                </a:lnTo>
                <a:lnTo>
                  <a:pt x="3854" y="1443"/>
                </a:lnTo>
                <a:lnTo>
                  <a:pt x="3867" y="1451"/>
                </a:lnTo>
                <a:lnTo>
                  <a:pt x="3881" y="1458"/>
                </a:lnTo>
                <a:lnTo>
                  <a:pt x="3896" y="1465"/>
                </a:lnTo>
                <a:lnTo>
                  <a:pt x="3911" y="1470"/>
                </a:lnTo>
                <a:lnTo>
                  <a:pt x="3919" y="1473"/>
                </a:lnTo>
                <a:lnTo>
                  <a:pt x="3927" y="1476"/>
                </a:lnTo>
                <a:lnTo>
                  <a:pt x="3944" y="1480"/>
                </a:lnTo>
                <a:lnTo>
                  <a:pt x="3961" y="1484"/>
                </a:lnTo>
                <a:lnTo>
                  <a:pt x="3979" y="1488"/>
                </a:lnTo>
                <a:lnTo>
                  <a:pt x="3998" y="1491"/>
                </a:lnTo>
                <a:lnTo>
                  <a:pt x="4018" y="1493"/>
                </a:lnTo>
                <a:lnTo>
                  <a:pt x="4038" y="1494"/>
                </a:lnTo>
                <a:lnTo>
                  <a:pt x="4060" y="1495"/>
                </a:lnTo>
                <a:lnTo>
                  <a:pt x="4082" y="1495"/>
                </a:lnTo>
                <a:lnTo>
                  <a:pt x="4104" y="1495"/>
                </a:lnTo>
                <a:lnTo>
                  <a:pt x="4125" y="1495"/>
                </a:lnTo>
                <a:lnTo>
                  <a:pt x="4146" y="1493"/>
                </a:lnTo>
                <a:lnTo>
                  <a:pt x="4167" y="1492"/>
                </a:lnTo>
                <a:lnTo>
                  <a:pt x="4187" y="1490"/>
                </a:lnTo>
                <a:lnTo>
                  <a:pt x="4208" y="1487"/>
                </a:lnTo>
                <a:lnTo>
                  <a:pt x="4230" y="1483"/>
                </a:lnTo>
                <a:lnTo>
                  <a:pt x="4253" y="1478"/>
                </a:lnTo>
                <a:close/>
                <a:moveTo>
                  <a:pt x="2979" y="1024"/>
                </a:moveTo>
                <a:lnTo>
                  <a:pt x="2978" y="1050"/>
                </a:lnTo>
                <a:lnTo>
                  <a:pt x="2976" y="1075"/>
                </a:lnTo>
                <a:lnTo>
                  <a:pt x="2974" y="1100"/>
                </a:lnTo>
                <a:lnTo>
                  <a:pt x="2970" y="1125"/>
                </a:lnTo>
                <a:lnTo>
                  <a:pt x="2966" y="1149"/>
                </a:lnTo>
                <a:lnTo>
                  <a:pt x="2960" y="1172"/>
                </a:lnTo>
                <a:lnTo>
                  <a:pt x="2954" y="1195"/>
                </a:lnTo>
                <a:lnTo>
                  <a:pt x="2950" y="1206"/>
                </a:lnTo>
                <a:lnTo>
                  <a:pt x="2946" y="1217"/>
                </a:lnTo>
                <a:lnTo>
                  <a:pt x="2938" y="1238"/>
                </a:lnTo>
                <a:lnTo>
                  <a:pt x="2928" y="1259"/>
                </a:lnTo>
                <a:lnTo>
                  <a:pt x="2918" y="1279"/>
                </a:lnTo>
                <a:lnTo>
                  <a:pt x="2907" y="1299"/>
                </a:lnTo>
                <a:lnTo>
                  <a:pt x="2896" y="1317"/>
                </a:lnTo>
                <a:lnTo>
                  <a:pt x="2883" y="1335"/>
                </a:lnTo>
                <a:lnTo>
                  <a:pt x="2876" y="1344"/>
                </a:lnTo>
                <a:lnTo>
                  <a:pt x="2870" y="1352"/>
                </a:lnTo>
                <a:lnTo>
                  <a:pt x="2863" y="1360"/>
                </a:lnTo>
                <a:lnTo>
                  <a:pt x="2855" y="1368"/>
                </a:lnTo>
                <a:lnTo>
                  <a:pt x="2848" y="1376"/>
                </a:lnTo>
                <a:lnTo>
                  <a:pt x="2840" y="1384"/>
                </a:lnTo>
                <a:lnTo>
                  <a:pt x="2833" y="1391"/>
                </a:lnTo>
                <a:lnTo>
                  <a:pt x="2825" y="1399"/>
                </a:lnTo>
                <a:lnTo>
                  <a:pt x="2817" y="1406"/>
                </a:lnTo>
                <a:lnTo>
                  <a:pt x="2808" y="1412"/>
                </a:lnTo>
                <a:lnTo>
                  <a:pt x="2791" y="1425"/>
                </a:lnTo>
                <a:lnTo>
                  <a:pt x="2783" y="1431"/>
                </a:lnTo>
                <a:lnTo>
                  <a:pt x="2774" y="1437"/>
                </a:lnTo>
                <a:lnTo>
                  <a:pt x="2755" y="1448"/>
                </a:lnTo>
                <a:lnTo>
                  <a:pt x="2746" y="1453"/>
                </a:lnTo>
                <a:lnTo>
                  <a:pt x="2736" y="1458"/>
                </a:lnTo>
                <a:lnTo>
                  <a:pt x="2716" y="1467"/>
                </a:lnTo>
                <a:lnTo>
                  <a:pt x="2696" y="1476"/>
                </a:lnTo>
                <a:lnTo>
                  <a:pt x="2686" y="1479"/>
                </a:lnTo>
                <a:lnTo>
                  <a:pt x="2675" y="1483"/>
                </a:lnTo>
                <a:lnTo>
                  <a:pt x="2665" y="1486"/>
                </a:lnTo>
                <a:lnTo>
                  <a:pt x="2654" y="1489"/>
                </a:lnTo>
                <a:lnTo>
                  <a:pt x="2632" y="1494"/>
                </a:lnTo>
                <a:lnTo>
                  <a:pt x="2609" y="1498"/>
                </a:lnTo>
                <a:lnTo>
                  <a:pt x="2598" y="1499"/>
                </a:lnTo>
                <a:lnTo>
                  <a:pt x="2586" y="1501"/>
                </a:lnTo>
                <a:lnTo>
                  <a:pt x="2563" y="1502"/>
                </a:lnTo>
                <a:lnTo>
                  <a:pt x="2551" y="1503"/>
                </a:lnTo>
                <a:lnTo>
                  <a:pt x="2539" y="1503"/>
                </a:lnTo>
                <a:lnTo>
                  <a:pt x="2513" y="1502"/>
                </a:lnTo>
                <a:lnTo>
                  <a:pt x="2501" y="1502"/>
                </a:lnTo>
                <a:lnTo>
                  <a:pt x="2488" y="1501"/>
                </a:lnTo>
                <a:lnTo>
                  <a:pt x="2475" y="1500"/>
                </a:lnTo>
                <a:lnTo>
                  <a:pt x="2462" y="1498"/>
                </a:lnTo>
                <a:lnTo>
                  <a:pt x="2439" y="1494"/>
                </a:lnTo>
                <a:lnTo>
                  <a:pt x="2415" y="1489"/>
                </a:lnTo>
                <a:lnTo>
                  <a:pt x="2393" y="1484"/>
                </a:lnTo>
                <a:lnTo>
                  <a:pt x="2382" y="1480"/>
                </a:lnTo>
                <a:lnTo>
                  <a:pt x="2371" y="1477"/>
                </a:lnTo>
                <a:lnTo>
                  <a:pt x="2350" y="1469"/>
                </a:lnTo>
                <a:lnTo>
                  <a:pt x="2329" y="1460"/>
                </a:lnTo>
                <a:lnTo>
                  <a:pt x="2319" y="1455"/>
                </a:lnTo>
                <a:lnTo>
                  <a:pt x="2309" y="1450"/>
                </a:lnTo>
                <a:lnTo>
                  <a:pt x="2290" y="1440"/>
                </a:lnTo>
                <a:lnTo>
                  <a:pt x="2272" y="1428"/>
                </a:lnTo>
                <a:lnTo>
                  <a:pt x="2254" y="1415"/>
                </a:lnTo>
                <a:lnTo>
                  <a:pt x="2246" y="1409"/>
                </a:lnTo>
                <a:lnTo>
                  <a:pt x="2237" y="1402"/>
                </a:lnTo>
                <a:lnTo>
                  <a:pt x="2221" y="1388"/>
                </a:lnTo>
                <a:lnTo>
                  <a:pt x="2206" y="1372"/>
                </a:lnTo>
                <a:lnTo>
                  <a:pt x="2199" y="1364"/>
                </a:lnTo>
                <a:lnTo>
                  <a:pt x="2192" y="1356"/>
                </a:lnTo>
                <a:lnTo>
                  <a:pt x="2185" y="1348"/>
                </a:lnTo>
                <a:lnTo>
                  <a:pt x="2178" y="1339"/>
                </a:lnTo>
                <a:lnTo>
                  <a:pt x="2172" y="1330"/>
                </a:lnTo>
                <a:lnTo>
                  <a:pt x="2166" y="1321"/>
                </a:lnTo>
                <a:lnTo>
                  <a:pt x="2154" y="1303"/>
                </a:lnTo>
                <a:lnTo>
                  <a:pt x="2143" y="1283"/>
                </a:lnTo>
                <a:lnTo>
                  <a:pt x="2138" y="1273"/>
                </a:lnTo>
                <a:lnTo>
                  <a:pt x="2133" y="1263"/>
                </a:lnTo>
                <a:lnTo>
                  <a:pt x="2124" y="1242"/>
                </a:lnTo>
                <a:lnTo>
                  <a:pt x="2115" y="1220"/>
                </a:lnTo>
                <a:lnTo>
                  <a:pt x="2108" y="1197"/>
                </a:lnTo>
                <a:lnTo>
                  <a:pt x="2101" y="1174"/>
                </a:lnTo>
                <a:lnTo>
                  <a:pt x="2096" y="1150"/>
                </a:lnTo>
                <a:lnTo>
                  <a:pt x="2094" y="1138"/>
                </a:lnTo>
                <a:lnTo>
                  <a:pt x="2092" y="1125"/>
                </a:lnTo>
                <a:lnTo>
                  <a:pt x="2088" y="1100"/>
                </a:lnTo>
                <a:lnTo>
                  <a:pt x="2085" y="1074"/>
                </a:lnTo>
                <a:lnTo>
                  <a:pt x="2085" y="1061"/>
                </a:lnTo>
                <a:lnTo>
                  <a:pt x="2084" y="1047"/>
                </a:lnTo>
                <a:lnTo>
                  <a:pt x="2083" y="1020"/>
                </a:lnTo>
                <a:lnTo>
                  <a:pt x="2084" y="995"/>
                </a:lnTo>
                <a:lnTo>
                  <a:pt x="2085" y="983"/>
                </a:lnTo>
                <a:lnTo>
                  <a:pt x="2085" y="970"/>
                </a:lnTo>
                <a:lnTo>
                  <a:pt x="2088" y="946"/>
                </a:lnTo>
                <a:lnTo>
                  <a:pt x="2092" y="922"/>
                </a:lnTo>
                <a:lnTo>
                  <a:pt x="2096" y="899"/>
                </a:lnTo>
                <a:lnTo>
                  <a:pt x="2102" y="876"/>
                </a:lnTo>
                <a:lnTo>
                  <a:pt x="2108" y="854"/>
                </a:lnTo>
                <a:lnTo>
                  <a:pt x="2116" y="832"/>
                </a:lnTo>
                <a:lnTo>
                  <a:pt x="2124" y="811"/>
                </a:lnTo>
                <a:lnTo>
                  <a:pt x="2133" y="791"/>
                </a:lnTo>
                <a:lnTo>
                  <a:pt x="2138" y="781"/>
                </a:lnTo>
                <a:lnTo>
                  <a:pt x="2144" y="770"/>
                </a:lnTo>
                <a:lnTo>
                  <a:pt x="2155" y="751"/>
                </a:lnTo>
                <a:lnTo>
                  <a:pt x="2160" y="742"/>
                </a:lnTo>
                <a:lnTo>
                  <a:pt x="2166" y="732"/>
                </a:lnTo>
                <a:lnTo>
                  <a:pt x="2173" y="723"/>
                </a:lnTo>
                <a:lnTo>
                  <a:pt x="2179" y="715"/>
                </a:lnTo>
                <a:lnTo>
                  <a:pt x="2193" y="698"/>
                </a:lnTo>
                <a:lnTo>
                  <a:pt x="2207" y="681"/>
                </a:lnTo>
                <a:lnTo>
                  <a:pt x="2222" y="666"/>
                </a:lnTo>
                <a:lnTo>
                  <a:pt x="2238" y="651"/>
                </a:lnTo>
                <a:lnTo>
                  <a:pt x="2255" y="637"/>
                </a:lnTo>
                <a:lnTo>
                  <a:pt x="2272" y="624"/>
                </a:lnTo>
                <a:lnTo>
                  <a:pt x="2290" y="612"/>
                </a:lnTo>
                <a:lnTo>
                  <a:pt x="2309" y="601"/>
                </a:lnTo>
                <a:lnTo>
                  <a:pt x="2329" y="591"/>
                </a:lnTo>
                <a:lnTo>
                  <a:pt x="2349" y="582"/>
                </a:lnTo>
                <a:lnTo>
                  <a:pt x="2359" y="577"/>
                </a:lnTo>
                <a:lnTo>
                  <a:pt x="2370" y="573"/>
                </a:lnTo>
                <a:lnTo>
                  <a:pt x="2391" y="566"/>
                </a:lnTo>
                <a:lnTo>
                  <a:pt x="2413" y="560"/>
                </a:lnTo>
                <a:lnTo>
                  <a:pt x="2436" y="555"/>
                </a:lnTo>
                <a:lnTo>
                  <a:pt x="2447" y="553"/>
                </a:lnTo>
                <a:lnTo>
                  <a:pt x="2459" y="551"/>
                </a:lnTo>
                <a:lnTo>
                  <a:pt x="2471" y="549"/>
                </a:lnTo>
                <a:lnTo>
                  <a:pt x="2483" y="548"/>
                </a:lnTo>
                <a:lnTo>
                  <a:pt x="2508" y="546"/>
                </a:lnTo>
                <a:lnTo>
                  <a:pt x="2521" y="546"/>
                </a:lnTo>
                <a:lnTo>
                  <a:pt x="2533" y="545"/>
                </a:lnTo>
                <a:lnTo>
                  <a:pt x="2559" y="546"/>
                </a:lnTo>
                <a:lnTo>
                  <a:pt x="2585" y="548"/>
                </a:lnTo>
                <a:lnTo>
                  <a:pt x="2610" y="551"/>
                </a:lnTo>
                <a:lnTo>
                  <a:pt x="2634" y="554"/>
                </a:lnTo>
                <a:lnTo>
                  <a:pt x="2657" y="559"/>
                </a:lnTo>
                <a:lnTo>
                  <a:pt x="2679" y="566"/>
                </a:lnTo>
                <a:lnTo>
                  <a:pt x="2701" y="573"/>
                </a:lnTo>
                <a:lnTo>
                  <a:pt x="2722" y="581"/>
                </a:lnTo>
                <a:lnTo>
                  <a:pt x="2742" y="590"/>
                </a:lnTo>
                <a:lnTo>
                  <a:pt x="2762" y="600"/>
                </a:lnTo>
                <a:lnTo>
                  <a:pt x="2780" y="611"/>
                </a:lnTo>
                <a:lnTo>
                  <a:pt x="2798" y="623"/>
                </a:lnTo>
                <a:lnTo>
                  <a:pt x="2815" y="636"/>
                </a:lnTo>
                <a:lnTo>
                  <a:pt x="2832" y="650"/>
                </a:lnTo>
                <a:lnTo>
                  <a:pt x="2847" y="664"/>
                </a:lnTo>
                <a:lnTo>
                  <a:pt x="2862" y="680"/>
                </a:lnTo>
                <a:lnTo>
                  <a:pt x="2876" y="696"/>
                </a:lnTo>
                <a:lnTo>
                  <a:pt x="2889" y="713"/>
                </a:lnTo>
                <a:lnTo>
                  <a:pt x="2901" y="731"/>
                </a:lnTo>
                <a:lnTo>
                  <a:pt x="2907" y="740"/>
                </a:lnTo>
                <a:lnTo>
                  <a:pt x="2912" y="749"/>
                </a:lnTo>
                <a:lnTo>
                  <a:pt x="2917" y="759"/>
                </a:lnTo>
                <a:lnTo>
                  <a:pt x="2923" y="769"/>
                </a:lnTo>
                <a:lnTo>
                  <a:pt x="2932" y="790"/>
                </a:lnTo>
                <a:lnTo>
                  <a:pt x="2941" y="810"/>
                </a:lnTo>
                <a:lnTo>
                  <a:pt x="2949" y="832"/>
                </a:lnTo>
                <a:lnTo>
                  <a:pt x="2956" y="854"/>
                </a:lnTo>
                <a:lnTo>
                  <a:pt x="2962" y="876"/>
                </a:lnTo>
                <a:lnTo>
                  <a:pt x="2967" y="899"/>
                </a:lnTo>
                <a:lnTo>
                  <a:pt x="2971" y="923"/>
                </a:lnTo>
                <a:lnTo>
                  <a:pt x="2974" y="948"/>
                </a:lnTo>
                <a:lnTo>
                  <a:pt x="2977" y="972"/>
                </a:lnTo>
                <a:lnTo>
                  <a:pt x="2978" y="998"/>
                </a:lnTo>
                <a:lnTo>
                  <a:pt x="2979" y="1024"/>
                </a:lnTo>
                <a:close/>
                <a:moveTo>
                  <a:pt x="2718" y="1022"/>
                </a:moveTo>
                <a:lnTo>
                  <a:pt x="2718" y="1007"/>
                </a:lnTo>
                <a:lnTo>
                  <a:pt x="2717" y="992"/>
                </a:lnTo>
                <a:lnTo>
                  <a:pt x="2716" y="978"/>
                </a:lnTo>
                <a:lnTo>
                  <a:pt x="2715" y="964"/>
                </a:lnTo>
                <a:lnTo>
                  <a:pt x="2713" y="951"/>
                </a:lnTo>
                <a:lnTo>
                  <a:pt x="2711" y="938"/>
                </a:lnTo>
                <a:lnTo>
                  <a:pt x="2709" y="926"/>
                </a:lnTo>
                <a:lnTo>
                  <a:pt x="2706" y="913"/>
                </a:lnTo>
                <a:lnTo>
                  <a:pt x="2702" y="902"/>
                </a:lnTo>
                <a:lnTo>
                  <a:pt x="2699" y="890"/>
                </a:lnTo>
                <a:lnTo>
                  <a:pt x="2695" y="880"/>
                </a:lnTo>
                <a:lnTo>
                  <a:pt x="2690" y="869"/>
                </a:lnTo>
                <a:lnTo>
                  <a:pt x="2685" y="859"/>
                </a:lnTo>
                <a:lnTo>
                  <a:pt x="2680" y="850"/>
                </a:lnTo>
                <a:lnTo>
                  <a:pt x="2675" y="841"/>
                </a:lnTo>
                <a:lnTo>
                  <a:pt x="2669" y="832"/>
                </a:lnTo>
                <a:lnTo>
                  <a:pt x="2663" y="824"/>
                </a:lnTo>
                <a:lnTo>
                  <a:pt x="2657" y="816"/>
                </a:lnTo>
                <a:lnTo>
                  <a:pt x="2650" y="809"/>
                </a:lnTo>
                <a:lnTo>
                  <a:pt x="2643" y="802"/>
                </a:lnTo>
                <a:lnTo>
                  <a:pt x="2635" y="796"/>
                </a:lnTo>
                <a:lnTo>
                  <a:pt x="2627" y="791"/>
                </a:lnTo>
                <a:lnTo>
                  <a:pt x="2619" y="785"/>
                </a:lnTo>
                <a:lnTo>
                  <a:pt x="2611" y="781"/>
                </a:lnTo>
                <a:lnTo>
                  <a:pt x="2602" y="776"/>
                </a:lnTo>
                <a:lnTo>
                  <a:pt x="2593" y="772"/>
                </a:lnTo>
                <a:lnTo>
                  <a:pt x="2584" y="769"/>
                </a:lnTo>
                <a:lnTo>
                  <a:pt x="2574" y="767"/>
                </a:lnTo>
                <a:lnTo>
                  <a:pt x="2565" y="765"/>
                </a:lnTo>
                <a:lnTo>
                  <a:pt x="2554" y="763"/>
                </a:lnTo>
                <a:lnTo>
                  <a:pt x="2544" y="762"/>
                </a:lnTo>
                <a:lnTo>
                  <a:pt x="2533" y="762"/>
                </a:lnTo>
                <a:lnTo>
                  <a:pt x="2523" y="762"/>
                </a:lnTo>
                <a:lnTo>
                  <a:pt x="2512" y="763"/>
                </a:lnTo>
                <a:lnTo>
                  <a:pt x="2502" y="765"/>
                </a:lnTo>
                <a:lnTo>
                  <a:pt x="2492" y="767"/>
                </a:lnTo>
                <a:lnTo>
                  <a:pt x="2481" y="769"/>
                </a:lnTo>
                <a:lnTo>
                  <a:pt x="2472" y="772"/>
                </a:lnTo>
                <a:lnTo>
                  <a:pt x="2463" y="776"/>
                </a:lnTo>
                <a:lnTo>
                  <a:pt x="2454" y="781"/>
                </a:lnTo>
                <a:lnTo>
                  <a:pt x="2446" y="786"/>
                </a:lnTo>
                <a:lnTo>
                  <a:pt x="2437" y="791"/>
                </a:lnTo>
                <a:lnTo>
                  <a:pt x="2429" y="797"/>
                </a:lnTo>
                <a:lnTo>
                  <a:pt x="2422" y="803"/>
                </a:lnTo>
                <a:lnTo>
                  <a:pt x="2415" y="810"/>
                </a:lnTo>
                <a:lnTo>
                  <a:pt x="2408" y="817"/>
                </a:lnTo>
                <a:lnTo>
                  <a:pt x="2401" y="825"/>
                </a:lnTo>
                <a:lnTo>
                  <a:pt x="2395" y="833"/>
                </a:lnTo>
                <a:lnTo>
                  <a:pt x="2389" y="842"/>
                </a:lnTo>
                <a:lnTo>
                  <a:pt x="2383" y="851"/>
                </a:lnTo>
                <a:lnTo>
                  <a:pt x="2378" y="860"/>
                </a:lnTo>
                <a:lnTo>
                  <a:pt x="2373" y="870"/>
                </a:lnTo>
                <a:lnTo>
                  <a:pt x="2368" y="881"/>
                </a:lnTo>
                <a:lnTo>
                  <a:pt x="2364" y="891"/>
                </a:lnTo>
                <a:lnTo>
                  <a:pt x="2360" y="903"/>
                </a:lnTo>
                <a:lnTo>
                  <a:pt x="2357" y="914"/>
                </a:lnTo>
                <a:lnTo>
                  <a:pt x="2354" y="926"/>
                </a:lnTo>
                <a:lnTo>
                  <a:pt x="2351" y="939"/>
                </a:lnTo>
                <a:lnTo>
                  <a:pt x="2349" y="951"/>
                </a:lnTo>
                <a:lnTo>
                  <a:pt x="2347" y="964"/>
                </a:lnTo>
                <a:lnTo>
                  <a:pt x="2346" y="978"/>
                </a:lnTo>
                <a:lnTo>
                  <a:pt x="2344" y="991"/>
                </a:lnTo>
                <a:lnTo>
                  <a:pt x="2344" y="1005"/>
                </a:lnTo>
                <a:lnTo>
                  <a:pt x="2344" y="1020"/>
                </a:lnTo>
                <a:lnTo>
                  <a:pt x="2344" y="1034"/>
                </a:lnTo>
                <a:lnTo>
                  <a:pt x="2344" y="1049"/>
                </a:lnTo>
                <a:lnTo>
                  <a:pt x="2346" y="1063"/>
                </a:lnTo>
                <a:lnTo>
                  <a:pt x="2347" y="1076"/>
                </a:lnTo>
                <a:lnTo>
                  <a:pt x="2349" y="1090"/>
                </a:lnTo>
                <a:lnTo>
                  <a:pt x="2351" y="1103"/>
                </a:lnTo>
                <a:lnTo>
                  <a:pt x="2357" y="1127"/>
                </a:lnTo>
                <a:lnTo>
                  <a:pt x="2361" y="1139"/>
                </a:lnTo>
                <a:lnTo>
                  <a:pt x="2365" y="1150"/>
                </a:lnTo>
                <a:lnTo>
                  <a:pt x="2369" y="1162"/>
                </a:lnTo>
                <a:lnTo>
                  <a:pt x="2374" y="1172"/>
                </a:lnTo>
                <a:lnTo>
                  <a:pt x="2379" y="1182"/>
                </a:lnTo>
                <a:lnTo>
                  <a:pt x="2384" y="1192"/>
                </a:lnTo>
                <a:lnTo>
                  <a:pt x="2396" y="1210"/>
                </a:lnTo>
                <a:lnTo>
                  <a:pt x="2402" y="1219"/>
                </a:lnTo>
                <a:lnTo>
                  <a:pt x="2409" y="1227"/>
                </a:lnTo>
                <a:lnTo>
                  <a:pt x="2416" y="1234"/>
                </a:lnTo>
                <a:lnTo>
                  <a:pt x="2424" y="1241"/>
                </a:lnTo>
                <a:lnTo>
                  <a:pt x="2431" y="1247"/>
                </a:lnTo>
                <a:lnTo>
                  <a:pt x="2439" y="1253"/>
                </a:lnTo>
                <a:lnTo>
                  <a:pt x="2448" y="1259"/>
                </a:lnTo>
                <a:lnTo>
                  <a:pt x="2457" y="1264"/>
                </a:lnTo>
                <a:lnTo>
                  <a:pt x="2465" y="1268"/>
                </a:lnTo>
                <a:lnTo>
                  <a:pt x="2475" y="1272"/>
                </a:lnTo>
                <a:lnTo>
                  <a:pt x="2484" y="1275"/>
                </a:lnTo>
                <a:lnTo>
                  <a:pt x="2495" y="1278"/>
                </a:lnTo>
                <a:lnTo>
                  <a:pt x="2505" y="1280"/>
                </a:lnTo>
                <a:lnTo>
                  <a:pt x="2516" y="1281"/>
                </a:lnTo>
                <a:lnTo>
                  <a:pt x="2526" y="1282"/>
                </a:lnTo>
                <a:lnTo>
                  <a:pt x="2537" y="1283"/>
                </a:lnTo>
                <a:lnTo>
                  <a:pt x="2548" y="1282"/>
                </a:lnTo>
                <a:lnTo>
                  <a:pt x="2558" y="1281"/>
                </a:lnTo>
                <a:lnTo>
                  <a:pt x="2568" y="1280"/>
                </a:lnTo>
                <a:lnTo>
                  <a:pt x="2578" y="1278"/>
                </a:lnTo>
                <a:lnTo>
                  <a:pt x="2587" y="1275"/>
                </a:lnTo>
                <a:lnTo>
                  <a:pt x="2596" y="1272"/>
                </a:lnTo>
                <a:lnTo>
                  <a:pt x="2600" y="1271"/>
                </a:lnTo>
                <a:lnTo>
                  <a:pt x="2605" y="1269"/>
                </a:lnTo>
                <a:lnTo>
                  <a:pt x="2613" y="1264"/>
                </a:lnTo>
                <a:lnTo>
                  <a:pt x="2622" y="1260"/>
                </a:lnTo>
                <a:lnTo>
                  <a:pt x="2630" y="1255"/>
                </a:lnTo>
                <a:lnTo>
                  <a:pt x="2637" y="1249"/>
                </a:lnTo>
                <a:lnTo>
                  <a:pt x="2644" y="1243"/>
                </a:lnTo>
                <a:lnTo>
                  <a:pt x="2651" y="1236"/>
                </a:lnTo>
                <a:lnTo>
                  <a:pt x="2658" y="1229"/>
                </a:lnTo>
                <a:lnTo>
                  <a:pt x="2664" y="1221"/>
                </a:lnTo>
                <a:lnTo>
                  <a:pt x="2670" y="1213"/>
                </a:lnTo>
                <a:lnTo>
                  <a:pt x="2676" y="1204"/>
                </a:lnTo>
                <a:lnTo>
                  <a:pt x="2681" y="1195"/>
                </a:lnTo>
                <a:lnTo>
                  <a:pt x="2686" y="1185"/>
                </a:lnTo>
                <a:lnTo>
                  <a:pt x="2691" y="1175"/>
                </a:lnTo>
                <a:lnTo>
                  <a:pt x="2695" y="1165"/>
                </a:lnTo>
                <a:lnTo>
                  <a:pt x="2699" y="1154"/>
                </a:lnTo>
                <a:lnTo>
                  <a:pt x="2703" y="1142"/>
                </a:lnTo>
                <a:lnTo>
                  <a:pt x="2706" y="1131"/>
                </a:lnTo>
                <a:lnTo>
                  <a:pt x="2709" y="1118"/>
                </a:lnTo>
                <a:lnTo>
                  <a:pt x="2711" y="1106"/>
                </a:lnTo>
                <a:lnTo>
                  <a:pt x="2713" y="1093"/>
                </a:lnTo>
                <a:lnTo>
                  <a:pt x="2715" y="1079"/>
                </a:lnTo>
                <a:lnTo>
                  <a:pt x="2717" y="1065"/>
                </a:lnTo>
                <a:lnTo>
                  <a:pt x="2718" y="1051"/>
                </a:lnTo>
                <a:lnTo>
                  <a:pt x="2718" y="1037"/>
                </a:lnTo>
                <a:lnTo>
                  <a:pt x="2718" y="1022"/>
                </a:lnTo>
                <a:close/>
                <a:moveTo>
                  <a:pt x="5165" y="1037"/>
                </a:moveTo>
                <a:lnTo>
                  <a:pt x="5165" y="570"/>
                </a:lnTo>
                <a:lnTo>
                  <a:pt x="4907" y="570"/>
                </a:lnTo>
                <a:lnTo>
                  <a:pt x="4907" y="1037"/>
                </a:lnTo>
                <a:lnTo>
                  <a:pt x="4906" y="1070"/>
                </a:lnTo>
                <a:lnTo>
                  <a:pt x="4905" y="1100"/>
                </a:lnTo>
                <a:lnTo>
                  <a:pt x="4904" y="1114"/>
                </a:lnTo>
                <a:lnTo>
                  <a:pt x="4903" y="1127"/>
                </a:lnTo>
                <a:lnTo>
                  <a:pt x="4900" y="1152"/>
                </a:lnTo>
                <a:lnTo>
                  <a:pt x="4895" y="1174"/>
                </a:lnTo>
                <a:lnTo>
                  <a:pt x="4890" y="1194"/>
                </a:lnTo>
                <a:lnTo>
                  <a:pt x="4887" y="1203"/>
                </a:lnTo>
                <a:lnTo>
                  <a:pt x="4883" y="1211"/>
                </a:lnTo>
                <a:lnTo>
                  <a:pt x="4879" y="1219"/>
                </a:lnTo>
                <a:lnTo>
                  <a:pt x="4875" y="1226"/>
                </a:lnTo>
                <a:lnTo>
                  <a:pt x="4866" y="1240"/>
                </a:lnTo>
                <a:lnTo>
                  <a:pt x="4860" y="1245"/>
                </a:lnTo>
                <a:lnTo>
                  <a:pt x="4855" y="1251"/>
                </a:lnTo>
                <a:lnTo>
                  <a:pt x="4849" y="1255"/>
                </a:lnTo>
                <a:lnTo>
                  <a:pt x="4843" y="1260"/>
                </a:lnTo>
                <a:lnTo>
                  <a:pt x="4836" y="1264"/>
                </a:lnTo>
                <a:lnTo>
                  <a:pt x="4829" y="1267"/>
                </a:lnTo>
                <a:lnTo>
                  <a:pt x="4821" y="1270"/>
                </a:lnTo>
                <a:lnTo>
                  <a:pt x="4813" y="1273"/>
                </a:lnTo>
                <a:lnTo>
                  <a:pt x="4805" y="1275"/>
                </a:lnTo>
                <a:lnTo>
                  <a:pt x="4796" y="1276"/>
                </a:lnTo>
                <a:lnTo>
                  <a:pt x="4787" y="1278"/>
                </a:lnTo>
                <a:lnTo>
                  <a:pt x="4777" y="1279"/>
                </a:lnTo>
                <a:lnTo>
                  <a:pt x="4767" y="1279"/>
                </a:lnTo>
                <a:lnTo>
                  <a:pt x="4757" y="1279"/>
                </a:lnTo>
                <a:lnTo>
                  <a:pt x="4746" y="1279"/>
                </a:lnTo>
                <a:lnTo>
                  <a:pt x="4735" y="1279"/>
                </a:lnTo>
                <a:lnTo>
                  <a:pt x="4725" y="1278"/>
                </a:lnTo>
                <a:lnTo>
                  <a:pt x="4715" y="1276"/>
                </a:lnTo>
                <a:lnTo>
                  <a:pt x="4706" y="1275"/>
                </a:lnTo>
                <a:lnTo>
                  <a:pt x="4697" y="1273"/>
                </a:lnTo>
                <a:lnTo>
                  <a:pt x="4689" y="1270"/>
                </a:lnTo>
                <a:lnTo>
                  <a:pt x="4681" y="1267"/>
                </a:lnTo>
                <a:lnTo>
                  <a:pt x="4674" y="1264"/>
                </a:lnTo>
                <a:lnTo>
                  <a:pt x="4667" y="1260"/>
                </a:lnTo>
                <a:lnTo>
                  <a:pt x="4660" y="1256"/>
                </a:lnTo>
                <a:lnTo>
                  <a:pt x="4654" y="1251"/>
                </a:lnTo>
                <a:lnTo>
                  <a:pt x="4648" y="1246"/>
                </a:lnTo>
                <a:lnTo>
                  <a:pt x="4642" y="1241"/>
                </a:lnTo>
                <a:lnTo>
                  <a:pt x="4637" y="1235"/>
                </a:lnTo>
                <a:lnTo>
                  <a:pt x="4632" y="1228"/>
                </a:lnTo>
                <a:lnTo>
                  <a:pt x="4627" y="1221"/>
                </a:lnTo>
                <a:lnTo>
                  <a:pt x="4623" y="1214"/>
                </a:lnTo>
                <a:lnTo>
                  <a:pt x="4619" y="1206"/>
                </a:lnTo>
                <a:lnTo>
                  <a:pt x="4616" y="1197"/>
                </a:lnTo>
                <a:lnTo>
                  <a:pt x="4613" y="1188"/>
                </a:lnTo>
                <a:lnTo>
                  <a:pt x="4610" y="1179"/>
                </a:lnTo>
                <a:lnTo>
                  <a:pt x="4607" y="1169"/>
                </a:lnTo>
                <a:lnTo>
                  <a:pt x="4605" y="1158"/>
                </a:lnTo>
                <a:lnTo>
                  <a:pt x="4603" y="1147"/>
                </a:lnTo>
                <a:lnTo>
                  <a:pt x="4601" y="1135"/>
                </a:lnTo>
                <a:lnTo>
                  <a:pt x="4600" y="1123"/>
                </a:lnTo>
                <a:lnTo>
                  <a:pt x="4599" y="1110"/>
                </a:lnTo>
                <a:lnTo>
                  <a:pt x="4598" y="1096"/>
                </a:lnTo>
                <a:lnTo>
                  <a:pt x="4597" y="1082"/>
                </a:lnTo>
                <a:lnTo>
                  <a:pt x="4597" y="1052"/>
                </a:lnTo>
                <a:lnTo>
                  <a:pt x="4597" y="570"/>
                </a:lnTo>
                <a:lnTo>
                  <a:pt x="4338" y="570"/>
                </a:lnTo>
                <a:lnTo>
                  <a:pt x="4338" y="1048"/>
                </a:lnTo>
                <a:lnTo>
                  <a:pt x="4339" y="1067"/>
                </a:lnTo>
                <a:lnTo>
                  <a:pt x="4339" y="1084"/>
                </a:lnTo>
                <a:lnTo>
                  <a:pt x="4340" y="1118"/>
                </a:lnTo>
                <a:lnTo>
                  <a:pt x="4342" y="1149"/>
                </a:lnTo>
                <a:lnTo>
                  <a:pt x="4345" y="1178"/>
                </a:lnTo>
                <a:lnTo>
                  <a:pt x="4347" y="1192"/>
                </a:lnTo>
                <a:lnTo>
                  <a:pt x="4349" y="1205"/>
                </a:lnTo>
                <a:lnTo>
                  <a:pt x="4353" y="1230"/>
                </a:lnTo>
                <a:lnTo>
                  <a:pt x="4356" y="1242"/>
                </a:lnTo>
                <a:lnTo>
                  <a:pt x="4359" y="1254"/>
                </a:lnTo>
                <a:lnTo>
                  <a:pt x="4362" y="1265"/>
                </a:lnTo>
                <a:lnTo>
                  <a:pt x="4366" y="1275"/>
                </a:lnTo>
                <a:lnTo>
                  <a:pt x="4373" y="1296"/>
                </a:lnTo>
                <a:lnTo>
                  <a:pt x="4382" y="1315"/>
                </a:lnTo>
                <a:lnTo>
                  <a:pt x="4392" y="1333"/>
                </a:lnTo>
                <a:lnTo>
                  <a:pt x="4398" y="1341"/>
                </a:lnTo>
                <a:lnTo>
                  <a:pt x="4404" y="1350"/>
                </a:lnTo>
                <a:lnTo>
                  <a:pt x="4410" y="1358"/>
                </a:lnTo>
                <a:lnTo>
                  <a:pt x="4416" y="1366"/>
                </a:lnTo>
                <a:lnTo>
                  <a:pt x="4423" y="1373"/>
                </a:lnTo>
                <a:lnTo>
                  <a:pt x="4430" y="1381"/>
                </a:lnTo>
                <a:lnTo>
                  <a:pt x="4437" y="1388"/>
                </a:lnTo>
                <a:lnTo>
                  <a:pt x="4445" y="1396"/>
                </a:lnTo>
                <a:lnTo>
                  <a:pt x="4461" y="1410"/>
                </a:lnTo>
                <a:lnTo>
                  <a:pt x="4475" y="1421"/>
                </a:lnTo>
                <a:lnTo>
                  <a:pt x="4489" y="1431"/>
                </a:lnTo>
                <a:lnTo>
                  <a:pt x="4505" y="1440"/>
                </a:lnTo>
                <a:lnTo>
                  <a:pt x="4520" y="1449"/>
                </a:lnTo>
                <a:lnTo>
                  <a:pt x="4537" y="1457"/>
                </a:lnTo>
                <a:lnTo>
                  <a:pt x="4554" y="1464"/>
                </a:lnTo>
                <a:lnTo>
                  <a:pt x="4572" y="1471"/>
                </a:lnTo>
                <a:lnTo>
                  <a:pt x="4590" y="1477"/>
                </a:lnTo>
                <a:lnTo>
                  <a:pt x="4609" y="1482"/>
                </a:lnTo>
                <a:lnTo>
                  <a:pt x="4619" y="1484"/>
                </a:lnTo>
                <a:lnTo>
                  <a:pt x="4628" y="1486"/>
                </a:lnTo>
                <a:lnTo>
                  <a:pt x="4638" y="1489"/>
                </a:lnTo>
                <a:lnTo>
                  <a:pt x="4648" y="1490"/>
                </a:lnTo>
                <a:lnTo>
                  <a:pt x="4669" y="1494"/>
                </a:lnTo>
                <a:lnTo>
                  <a:pt x="4689" y="1496"/>
                </a:lnTo>
                <a:lnTo>
                  <a:pt x="4711" y="1498"/>
                </a:lnTo>
                <a:lnTo>
                  <a:pt x="4732" y="1499"/>
                </a:lnTo>
                <a:lnTo>
                  <a:pt x="4755" y="1499"/>
                </a:lnTo>
                <a:lnTo>
                  <a:pt x="4781" y="1499"/>
                </a:lnTo>
                <a:lnTo>
                  <a:pt x="4806" y="1497"/>
                </a:lnTo>
                <a:lnTo>
                  <a:pt x="4818" y="1496"/>
                </a:lnTo>
                <a:lnTo>
                  <a:pt x="4831" y="1494"/>
                </a:lnTo>
                <a:lnTo>
                  <a:pt x="4855" y="1491"/>
                </a:lnTo>
                <a:lnTo>
                  <a:pt x="4878" y="1486"/>
                </a:lnTo>
                <a:lnTo>
                  <a:pt x="4900" y="1480"/>
                </a:lnTo>
                <a:lnTo>
                  <a:pt x="4911" y="1477"/>
                </a:lnTo>
                <a:lnTo>
                  <a:pt x="4922" y="1474"/>
                </a:lnTo>
                <a:lnTo>
                  <a:pt x="4943" y="1466"/>
                </a:lnTo>
                <a:lnTo>
                  <a:pt x="4953" y="1462"/>
                </a:lnTo>
                <a:lnTo>
                  <a:pt x="4963" y="1457"/>
                </a:lnTo>
                <a:lnTo>
                  <a:pt x="4983" y="1448"/>
                </a:lnTo>
                <a:lnTo>
                  <a:pt x="5001" y="1437"/>
                </a:lnTo>
                <a:lnTo>
                  <a:pt x="5019" y="1426"/>
                </a:lnTo>
                <a:lnTo>
                  <a:pt x="5036" y="1413"/>
                </a:lnTo>
                <a:lnTo>
                  <a:pt x="5044" y="1407"/>
                </a:lnTo>
                <a:lnTo>
                  <a:pt x="5052" y="1400"/>
                </a:lnTo>
                <a:lnTo>
                  <a:pt x="5059" y="1393"/>
                </a:lnTo>
                <a:lnTo>
                  <a:pt x="5066" y="1386"/>
                </a:lnTo>
                <a:lnTo>
                  <a:pt x="5080" y="1370"/>
                </a:lnTo>
                <a:lnTo>
                  <a:pt x="5091" y="1357"/>
                </a:lnTo>
                <a:lnTo>
                  <a:pt x="5096" y="1350"/>
                </a:lnTo>
                <a:lnTo>
                  <a:pt x="5101" y="1344"/>
                </a:lnTo>
                <a:lnTo>
                  <a:pt x="5106" y="1336"/>
                </a:lnTo>
                <a:lnTo>
                  <a:pt x="5110" y="1329"/>
                </a:lnTo>
                <a:lnTo>
                  <a:pt x="5118" y="1314"/>
                </a:lnTo>
                <a:lnTo>
                  <a:pt x="5126" y="1298"/>
                </a:lnTo>
                <a:lnTo>
                  <a:pt x="5133" y="1280"/>
                </a:lnTo>
                <a:lnTo>
                  <a:pt x="5139" y="1262"/>
                </a:lnTo>
                <a:lnTo>
                  <a:pt x="5145" y="1243"/>
                </a:lnTo>
                <a:lnTo>
                  <a:pt x="5150" y="1222"/>
                </a:lnTo>
                <a:lnTo>
                  <a:pt x="5154" y="1200"/>
                </a:lnTo>
                <a:lnTo>
                  <a:pt x="5157" y="1177"/>
                </a:lnTo>
                <a:lnTo>
                  <a:pt x="5160" y="1152"/>
                </a:lnTo>
                <a:lnTo>
                  <a:pt x="5162" y="1126"/>
                </a:lnTo>
                <a:lnTo>
                  <a:pt x="5163" y="1112"/>
                </a:lnTo>
                <a:lnTo>
                  <a:pt x="5164" y="1098"/>
                </a:lnTo>
                <a:lnTo>
                  <a:pt x="5165" y="1068"/>
                </a:lnTo>
                <a:lnTo>
                  <a:pt x="5165" y="1037"/>
                </a:lnTo>
                <a:close/>
                <a:moveTo>
                  <a:pt x="6630" y="1478"/>
                </a:moveTo>
                <a:lnTo>
                  <a:pt x="6630" y="957"/>
                </a:lnTo>
                <a:lnTo>
                  <a:pt x="6629" y="905"/>
                </a:lnTo>
                <a:lnTo>
                  <a:pt x="6629" y="881"/>
                </a:lnTo>
                <a:lnTo>
                  <a:pt x="6628" y="859"/>
                </a:lnTo>
                <a:lnTo>
                  <a:pt x="6626" y="838"/>
                </a:lnTo>
                <a:lnTo>
                  <a:pt x="6625" y="819"/>
                </a:lnTo>
                <a:lnTo>
                  <a:pt x="6623" y="801"/>
                </a:lnTo>
                <a:lnTo>
                  <a:pt x="6620" y="784"/>
                </a:lnTo>
                <a:lnTo>
                  <a:pt x="6617" y="767"/>
                </a:lnTo>
                <a:lnTo>
                  <a:pt x="6614" y="752"/>
                </a:lnTo>
                <a:lnTo>
                  <a:pt x="6611" y="738"/>
                </a:lnTo>
                <a:lnTo>
                  <a:pt x="6607" y="725"/>
                </a:lnTo>
                <a:lnTo>
                  <a:pt x="6602" y="713"/>
                </a:lnTo>
                <a:lnTo>
                  <a:pt x="6597" y="701"/>
                </a:lnTo>
                <a:lnTo>
                  <a:pt x="6592" y="690"/>
                </a:lnTo>
                <a:lnTo>
                  <a:pt x="6586" y="680"/>
                </a:lnTo>
                <a:lnTo>
                  <a:pt x="6582" y="672"/>
                </a:lnTo>
                <a:lnTo>
                  <a:pt x="6577" y="665"/>
                </a:lnTo>
                <a:lnTo>
                  <a:pt x="6567" y="651"/>
                </a:lnTo>
                <a:lnTo>
                  <a:pt x="6561" y="645"/>
                </a:lnTo>
                <a:lnTo>
                  <a:pt x="6556" y="638"/>
                </a:lnTo>
                <a:lnTo>
                  <a:pt x="6543" y="626"/>
                </a:lnTo>
                <a:lnTo>
                  <a:pt x="6530" y="615"/>
                </a:lnTo>
                <a:lnTo>
                  <a:pt x="6523" y="609"/>
                </a:lnTo>
                <a:lnTo>
                  <a:pt x="6516" y="604"/>
                </a:lnTo>
                <a:lnTo>
                  <a:pt x="6501" y="594"/>
                </a:lnTo>
                <a:lnTo>
                  <a:pt x="6485" y="586"/>
                </a:lnTo>
                <a:lnTo>
                  <a:pt x="6477" y="582"/>
                </a:lnTo>
                <a:lnTo>
                  <a:pt x="6468" y="578"/>
                </a:lnTo>
                <a:lnTo>
                  <a:pt x="6451" y="571"/>
                </a:lnTo>
                <a:lnTo>
                  <a:pt x="6433" y="565"/>
                </a:lnTo>
                <a:lnTo>
                  <a:pt x="6414" y="560"/>
                </a:lnTo>
                <a:lnTo>
                  <a:pt x="6405" y="558"/>
                </a:lnTo>
                <a:lnTo>
                  <a:pt x="6395" y="556"/>
                </a:lnTo>
                <a:lnTo>
                  <a:pt x="6375" y="553"/>
                </a:lnTo>
                <a:lnTo>
                  <a:pt x="6355" y="552"/>
                </a:lnTo>
                <a:lnTo>
                  <a:pt x="6345" y="551"/>
                </a:lnTo>
                <a:lnTo>
                  <a:pt x="6335" y="551"/>
                </a:lnTo>
                <a:lnTo>
                  <a:pt x="6322" y="551"/>
                </a:lnTo>
                <a:lnTo>
                  <a:pt x="6310" y="552"/>
                </a:lnTo>
                <a:lnTo>
                  <a:pt x="6298" y="553"/>
                </a:lnTo>
                <a:lnTo>
                  <a:pt x="6286" y="554"/>
                </a:lnTo>
                <a:lnTo>
                  <a:pt x="6275" y="556"/>
                </a:lnTo>
                <a:lnTo>
                  <a:pt x="6264" y="558"/>
                </a:lnTo>
                <a:lnTo>
                  <a:pt x="6253" y="561"/>
                </a:lnTo>
                <a:lnTo>
                  <a:pt x="6242" y="564"/>
                </a:lnTo>
                <a:lnTo>
                  <a:pt x="6231" y="567"/>
                </a:lnTo>
                <a:lnTo>
                  <a:pt x="6221" y="571"/>
                </a:lnTo>
                <a:lnTo>
                  <a:pt x="6211" y="575"/>
                </a:lnTo>
                <a:lnTo>
                  <a:pt x="6201" y="580"/>
                </a:lnTo>
                <a:lnTo>
                  <a:pt x="6191" y="585"/>
                </a:lnTo>
                <a:lnTo>
                  <a:pt x="6181" y="590"/>
                </a:lnTo>
                <a:lnTo>
                  <a:pt x="6172" y="596"/>
                </a:lnTo>
                <a:lnTo>
                  <a:pt x="6163" y="602"/>
                </a:lnTo>
                <a:lnTo>
                  <a:pt x="6154" y="609"/>
                </a:lnTo>
                <a:lnTo>
                  <a:pt x="6146" y="616"/>
                </a:lnTo>
                <a:lnTo>
                  <a:pt x="6137" y="624"/>
                </a:lnTo>
                <a:lnTo>
                  <a:pt x="6129" y="632"/>
                </a:lnTo>
                <a:lnTo>
                  <a:pt x="6121" y="640"/>
                </a:lnTo>
                <a:lnTo>
                  <a:pt x="6113" y="649"/>
                </a:lnTo>
                <a:lnTo>
                  <a:pt x="6105" y="658"/>
                </a:lnTo>
                <a:lnTo>
                  <a:pt x="6098" y="668"/>
                </a:lnTo>
                <a:lnTo>
                  <a:pt x="6091" y="678"/>
                </a:lnTo>
                <a:lnTo>
                  <a:pt x="6084" y="688"/>
                </a:lnTo>
                <a:lnTo>
                  <a:pt x="6077" y="699"/>
                </a:lnTo>
                <a:lnTo>
                  <a:pt x="6070" y="711"/>
                </a:lnTo>
                <a:lnTo>
                  <a:pt x="6064" y="723"/>
                </a:lnTo>
                <a:lnTo>
                  <a:pt x="6057" y="735"/>
                </a:lnTo>
                <a:lnTo>
                  <a:pt x="6051" y="748"/>
                </a:lnTo>
                <a:lnTo>
                  <a:pt x="6045" y="761"/>
                </a:lnTo>
                <a:lnTo>
                  <a:pt x="6039" y="736"/>
                </a:lnTo>
                <a:lnTo>
                  <a:pt x="6035" y="724"/>
                </a:lnTo>
                <a:lnTo>
                  <a:pt x="6031" y="712"/>
                </a:lnTo>
                <a:lnTo>
                  <a:pt x="6022" y="690"/>
                </a:lnTo>
                <a:lnTo>
                  <a:pt x="6017" y="679"/>
                </a:lnTo>
                <a:lnTo>
                  <a:pt x="6012" y="669"/>
                </a:lnTo>
                <a:lnTo>
                  <a:pt x="6001" y="650"/>
                </a:lnTo>
                <a:lnTo>
                  <a:pt x="5995" y="642"/>
                </a:lnTo>
                <a:lnTo>
                  <a:pt x="5989" y="633"/>
                </a:lnTo>
                <a:lnTo>
                  <a:pt x="5982" y="625"/>
                </a:lnTo>
                <a:lnTo>
                  <a:pt x="5975" y="618"/>
                </a:lnTo>
                <a:lnTo>
                  <a:pt x="5968" y="610"/>
                </a:lnTo>
                <a:lnTo>
                  <a:pt x="5961" y="604"/>
                </a:lnTo>
                <a:lnTo>
                  <a:pt x="5953" y="597"/>
                </a:lnTo>
                <a:lnTo>
                  <a:pt x="5945" y="591"/>
                </a:lnTo>
                <a:lnTo>
                  <a:pt x="5937" y="586"/>
                </a:lnTo>
                <a:lnTo>
                  <a:pt x="5928" y="581"/>
                </a:lnTo>
                <a:lnTo>
                  <a:pt x="5919" y="576"/>
                </a:lnTo>
                <a:lnTo>
                  <a:pt x="5910" y="572"/>
                </a:lnTo>
                <a:lnTo>
                  <a:pt x="5900" y="568"/>
                </a:lnTo>
                <a:lnTo>
                  <a:pt x="5890" y="564"/>
                </a:lnTo>
                <a:lnTo>
                  <a:pt x="5880" y="561"/>
                </a:lnTo>
                <a:lnTo>
                  <a:pt x="5870" y="558"/>
                </a:lnTo>
                <a:lnTo>
                  <a:pt x="5859" y="556"/>
                </a:lnTo>
                <a:lnTo>
                  <a:pt x="5848" y="554"/>
                </a:lnTo>
                <a:lnTo>
                  <a:pt x="5837" y="553"/>
                </a:lnTo>
                <a:lnTo>
                  <a:pt x="5825" y="552"/>
                </a:lnTo>
                <a:lnTo>
                  <a:pt x="5813" y="551"/>
                </a:lnTo>
                <a:lnTo>
                  <a:pt x="5801" y="551"/>
                </a:lnTo>
                <a:lnTo>
                  <a:pt x="5775" y="552"/>
                </a:lnTo>
                <a:lnTo>
                  <a:pt x="5763" y="553"/>
                </a:lnTo>
                <a:lnTo>
                  <a:pt x="5751" y="554"/>
                </a:lnTo>
                <a:lnTo>
                  <a:pt x="5740" y="556"/>
                </a:lnTo>
                <a:lnTo>
                  <a:pt x="5729" y="558"/>
                </a:lnTo>
                <a:lnTo>
                  <a:pt x="5718" y="560"/>
                </a:lnTo>
                <a:lnTo>
                  <a:pt x="5707" y="563"/>
                </a:lnTo>
                <a:lnTo>
                  <a:pt x="5697" y="567"/>
                </a:lnTo>
                <a:lnTo>
                  <a:pt x="5687" y="570"/>
                </a:lnTo>
                <a:lnTo>
                  <a:pt x="5677" y="574"/>
                </a:lnTo>
                <a:lnTo>
                  <a:pt x="5667" y="579"/>
                </a:lnTo>
                <a:lnTo>
                  <a:pt x="5658" y="584"/>
                </a:lnTo>
                <a:lnTo>
                  <a:pt x="5649" y="589"/>
                </a:lnTo>
                <a:lnTo>
                  <a:pt x="5640" y="595"/>
                </a:lnTo>
                <a:lnTo>
                  <a:pt x="5631" y="601"/>
                </a:lnTo>
                <a:lnTo>
                  <a:pt x="5622" y="607"/>
                </a:lnTo>
                <a:lnTo>
                  <a:pt x="5614" y="614"/>
                </a:lnTo>
                <a:lnTo>
                  <a:pt x="5606" y="622"/>
                </a:lnTo>
                <a:lnTo>
                  <a:pt x="5598" y="629"/>
                </a:lnTo>
                <a:lnTo>
                  <a:pt x="5590" y="637"/>
                </a:lnTo>
                <a:lnTo>
                  <a:pt x="5582" y="646"/>
                </a:lnTo>
                <a:lnTo>
                  <a:pt x="5575" y="655"/>
                </a:lnTo>
                <a:lnTo>
                  <a:pt x="5568" y="665"/>
                </a:lnTo>
                <a:lnTo>
                  <a:pt x="5553" y="685"/>
                </a:lnTo>
                <a:lnTo>
                  <a:pt x="5546" y="695"/>
                </a:lnTo>
                <a:lnTo>
                  <a:pt x="5540" y="707"/>
                </a:lnTo>
                <a:lnTo>
                  <a:pt x="5533" y="718"/>
                </a:lnTo>
                <a:lnTo>
                  <a:pt x="5526" y="730"/>
                </a:lnTo>
                <a:lnTo>
                  <a:pt x="5513" y="756"/>
                </a:lnTo>
                <a:lnTo>
                  <a:pt x="5513" y="570"/>
                </a:lnTo>
                <a:lnTo>
                  <a:pt x="5264" y="570"/>
                </a:lnTo>
                <a:lnTo>
                  <a:pt x="5264" y="1024"/>
                </a:lnTo>
                <a:lnTo>
                  <a:pt x="5264" y="1478"/>
                </a:lnTo>
                <a:lnTo>
                  <a:pt x="5523" y="1478"/>
                </a:lnTo>
                <a:lnTo>
                  <a:pt x="5523" y="1057"/>
                </a:lnTo>
                <a:lnTo>
                  <a:pt x="5523" y="1035"/>
                </a:lnTo>
                <a:lnTo>
                  <a:pt x="5523" y="1015"/>
                </a:lnTo>
                <a:lnTo>
                  <a:pt x="5524" y="997"/>
                </a:lnTo>
                <a:lnTo>
                  <a:pt x="5525" y="988"/>
                </a:lnTo>
                <a:lnTo>
                  <a:pt x="5526" y="979"/>
                </a:lnTo>
                <a:lnTo>
                  <a:pt x="5528" y="963"/>
                </a:lnTo>
                <a:lnTo>
                  <a:pt x="5530" y="948"/>
                </a:lnTo>
                <a:lnTo>
                  <a:pt x="5533" y="935"/>
                </a:lnTo>
                <a:lnTo>
                  <a:pt x="5536" y="922"/>
                </a:lnTo>
                <a:lnTo>
                  <a:pt x="5541" y="907"/>
                </a:lnTo>
                <a:lnTo>
                  <a:pt x="5546" y="893"/>
                </a:lnTo>
                <a:lnTo>
                  <a:pt x="5552" y="879"/>
                </a:lnTo>
                <a:lnTo>
                  <a:pt x="5559" y="867"/>
                </a:lnTo>
                <a:lnTo>
                  <a:pt x="5567" y="855"/>
                </a:lnTo>
                <a:lnTo>
                  <a:pt x="5575" y="844"/>
                </a:lnTo>
                <a:lnTo>
                  <a:pt x="5584" y="834"/>
                </a:lnTo>
                <a:lnTo>
                  <a:pt x="5593" y="824"/>
                </a:lnTo>
                <a:lnTo>
                  <a:pt x="5598" y="820"/>
                </a:lnTo>
                <a:lnTo>
                  <a:pt x="5603" y="816"/>
                </a:lnTo>
                <a:lnTo>
                  <a:pt x="5614" y="809"/>
                </a:lnTo>
                <a:lnTo>
                  <a:pt x="5625" y="802"/>
                </a:lnTo>
                <a:lnTo>
                  <a:pt x="5631" y="800"/>
                </a:lnTo>
                <a:lnTo>
                  <a:pt x="5636" y="797"/>
                </a:lnTo>
                <a:lnTo>
                  <a:pt x="5648" y="793"/>
                </a:lnTo>
                <a:lnTo>
                  <a:pt x="5661" y="790"/>
                </a:lnTo>
                <a:lnTo>
                  <a:pt x="5667" y="789"/>
                </a:lnTo>
                <a:lnTo>
                  <a:pt x="5673" y="788"/>
                </a:lnTo>
                <a:lnTo>
                  <a:pt x="5680" y="788"/>
                </a:lnTo>
                <a:lnTo>
                  <a:pt x="5686" y="788"/>
                </a:lnTo>
                <a:lnTo>
                  <a:pt x="5696" y="788"/>
                </a:lnTo>
                <a:lnTo>
                  <a:pt x="5705" y="789"/>
                </a:lnTo>
                <a:lnTo>
                  <a:pt x="5714" y="790"/>
                </a:lnTo>
                <a:lnTo>
                  <a:pt x="5723" y="793"/>
                </a:lnTo>
                <a:lnTo>
                  <a:pt x="5732" y="795"/>
                </a:lnTo>
                <a:lnTo>
                  <a:pt x="5739" y="799"/>
                </a:lnTo>
                <a:lnTo>
                  <a:pt x="5747" y="802"/>
                </a:lnTo>
                <a:lnTo>
                  <a:pt x="5754" y="807"/>
                </a:lnTo>
                <a:lnTo>
                  <a:pt x="5761" y="812"/>
                </a:lnTo>
                <a:lnTo>
                  <a:pt x="5767" y="817"/>
                </a:lnTo>
                <a:lnTo>
                  <a:pt x="5773" y="823"/>
                </a:lnTo>
                <a:lnTo>
                  <a:pt x="5779" y="830"/>
                </a:lnTo>
                <a:lnTo>
                  <a:pt x="5784" y="837"/>
                </a:lnTo>
                <a:lnTo>
                  <a:pt x="5789" y="845"/>
                </a:lnTo>
                <a:lnTo>
                  <a:pt x="5793" y="853"/>
                </a:lnTo>
                <a:lnTo>
                  <a:pt x="5797" y="861"/>
                </a:lnTo>
                <a:lnTo>
                  <a:pt x="5800" y="868"/>
                </a:lnTo>
                <a:lnTo>
                  <a:pt x="5802" y="875"/>
                </a:lnTo>
                <a:lnTo>
                  <a:pt x="5806" y="890"/>
                </a:lnTo>
                <a:lnTo>
                  <a:pt x="5809" y="906"/>
                </a:lnTo>
                <a:lnTo>
                  <a:pt x="5812" y="924"/>
                </a:lnTo>
                <a:lnTo>
                  <a:pt x="5814" y="945"/>
                </a:lnTo>
                <a:lnTo>
                  <a:pt x="5816" y="969"/>
                </a:lnTo>
                <a:lnTo>
                  <a:pt x="5816" y="981"/>
                </a:lnTo>
                <a:lnTo>
                  <a:pt x="5816" y="995"/>
                </a:lnTo>
                <a:lnTo>
                  <a:pt x="5817" y="1024"/>
                </a:lnTo>
                <a:lnTo>
                  <a:pt x="5817" y="1478"/>
                </a:lnTo>
                <a:lnTo>
                  <a:pt x="6077" y="1478"/>
                </a:lnTo>
                <a:lnTo>
                  <a:pt x="6077" y="1041"/>
                </a:lnTo>
                <a:lnTo>
                  <a:pt x="6077" y="1026"/>
                </a:lnTo>
                <a:lnTo>
                  <a:pt x="6077" y="1011"/>
                </a:lnTo>
                <a:lnTo>
                  <a:pt x="6078" y="997"/>
                </a:lnTo>
                <a:lnTo>
                  <a:pt x="6079" y="983"/>
                </a:lnTo>
                <a:lnTo>
                  <a:pt x="6081" y="970"/>
                </a:lnTo>
                <a:lnTo>
                  <a:pt x="6083" y="957"/>
                </a:lnTo>
                <a:lnTo>
                  <a:pt x="6085" y="944"/>
                </a:lnTo>
                <a:lnTo>
                  <a:pt x="6087" y="932"/>
                </a:lnTo>
                <a:lnTo>
                  <a:pt x="6093" y="910"/>
                </a:lnTo>
                <a:lnTo>
                  <a:pt x="6096" y="899"/>
                </a:lnTo>
                <a:lnTo>
                  <a:pt x="6100" y="889"/>
                </a:lnTo>
                <a:lnTo>
                  <a:pt x="6104" y="879"/>
                </a:lnTo>
                <a:lnTo>
                  <a:pt x="6108" y="870"/>
                </a:lnTo>
                <a:lnTo>
                  <a:pt x="6113" y="861"/>
                </a:lnTo>
                <a:lnTo>
                  <a:pt x="6118" y="853"/>
                </a:lnTo>
                <a:lnTo>
                  <a:pt x="6123" y="845"/>
                </a:lnTo>
                <a:lnTo>
                  <a:pt x="6129" y="838"/>
                </a:lnTo>
                <a:lnTo>
                  <a:pt x="6135" y="831"/>
                </a:lnTo>
                <a:lnTo>
                  <a:pt x="6141" y="824"/>
                </a:lnTo>
                <a:lnTo>
                  <a:pt x="6148" y="819"/>
                </a:lnTo>
                <a:lnTo>
                  <a:pt x="6155" y="813"/>
                </a:lnTo>
                <a:lnTo>
                  <a:pt x="6162" y="808"/>
                </a:lnTo>
                <a:lnTo>
                  <a:pt x="6169" y="804"/>
                </a:lnTo>
                <a:lnTo>
                  <a:pt x="6177" y="800"/>
                </a:lnTo>
                <a:lnTo>
                  <a:pt x="6185" y="797"/>
                </a:lnTo>
                <a:lnTo>
                  <a:pt x="6194" y="794"/>
                </a:lnTo>
                <a:lnTo>
                  <a:pt x="6202" y="792"/>
                </a:lnTo>
                <a:lnTo>
                  <a:pt x="6211" y="790"/>
                </a:lnTo>
                <a:lnTo>
                  <a:pt x="6221" y="789"/>
                </a:lnTo>
                <a:lnTo>
                  <a:pt x="6230" y="788"/>
                </a:lnTo>
                <a:lnTo>
                  <a:pt x="6240" y="788"/>
                </a:lnTo>
                <a:lnTo>
                  <a:pt x="6252" y="788"/>
                </a:lnTo>
                <a:lnTo>
                  <a:pt x="6263" y="789"/>
                </a:lnTo>
                <a:lnTo>
                  <a:pt x="6273" y="791"/>
                </a:lnTo>
                <a:lnTo>
                  <a:pt x="6283" y="793"/>
                </a:lnTo>
                <a:lnTo>
                  <a:pt x="6293" y="796"/>
                </a:lnTo>
                <a:lnTo>
                  <a:pt x="6302" y="800"/>
                </a:lnTo>
                <a:lnTo>
                  <a:pt x="6306" y="802"/>
                </a:lnTo>
                <a:lnTo>
                  <a:pt x="6310" y="804"/>
                </a:lnTo>
                <a:lnTo>
                  <a:pt x="6318" y="809"/>
                </a:lnTo>
                <a:lnTo>
                  <a:pt x="6325" y="815"/>
                </a:lnTo>
                <a:lnTo>
                  <a:pt x="6332" y="821"/>
                </a:lnTo>
                <a:lnTo>
                  <a:pt x="6338" y="829"/>
                </a:lnTo>
                <a:lnTo>
                  <a:pt x="6344" y="837"/>
                </a:lnTo>
                <a:lnTo>
                  <a:pt x="6349" y="845"/>
                </a:lnTo>
                <a:lnTo>
                  <a:pt x="6353" y="855"/>
                </a:lnTo>
                <a:lnTo>
                  <a:pt x="6357" y="865"/>
                </a:lnTo>
                <a:lnTo>
                  <a:pt x="6360" y="876"/>
                </a:lnTo>
                <a:lnTo>
                  <a:pt x="6362" y="887"/>
                </a:lnTo>
                <a:lnTo>
                  <a:pt x="6364" y="900"/>
                </a:lnTo>
                <a:lnTo>
                  <a:pt x="6366" y="915"/>
                </a:lnTo>
                <a:lnTo>
                  <a:pt x="6367" y="931"/>
                </a:lnTo>
                <a:lnTo>
                  <a:pt x="6369" y="969"/>
                </a:lnTo>
                <a:lnTo>
                  <a:pt x="6370" y="990"/>
                </a:lnTo>
                <a:lnTo>
                  <a:pt x="6370" y="1011"/>
                </a:lnTo>
                <a:lnTo>
                  <a:pt x="6370" y="1478"/>
                </a:lnTo>
                <a:lnTo>
                  <a:pt x="6630" y="1478"/>
                </a:lnTo>
                <a:close/>
                <a:moveTo>
                  <a:pt x="2027" y="314"/>
                </a:moveTo>
                <a:lnTo>
                  <a:pt x="2012" y="315"/>
                </a:lnTo>
                <a:lnTo>
                  <a:pt x="2005" y="316"/>
                </a:lnTo>
                <a:lnTo>
                  <a:pt x="1998" y="317"/>
                </a:lnTo>
                <a:lnTo>
                  <a:pt x="1991" y="318"/>
                </a:lnTo>
                <a:lnTo>
                  <a:pt x="1985" y="320"/>
                </a:lnTo>
                <a:lnTo>
                  <a:pt x="1979" y="322"/>
                </a:lnTo>
                <a:lnTo>
                  <a:pt x="1972" y="324"/>
                </a:lnTo>
                <a:lnTo>
                  <a:pt x="1961" y="330"/>
                </a:lnTo>
                <a:lnTo>
                  <a:pt x="1955" y="333"/>
                </a:lnTo>
                <a:lnTo>
                  <a:pt x="1950" y="337"/>
                </a:lnTo>
                <a:lnTo>
                  <a:pt x="1940" y="344"/>
                </a:lnTo>
                <a:lnTo>
                  <a:pt x="1935" y="349"/>
                </a:lnTo>
                <a:lnTo>
                  <a:pt x="1931" y="353"/>
                </a:lnTo>
                <a:lnTo>
                  <a:pt x="1923" y="363"/>
                </a:lnTo>
                <a:lnTo>
                  <a:pt x="1919" y="369"/>
                </a:lnTo>
                <a:lnTo>
                  <a:pt x="1916" y="374"/>
                </a:lnTo>
                <a:lnTo>
                  <a:pt x="1913" y="380"/>
                </a:lnTo>
                <a:lnTo>
                  <a:pt x="1910" y="386"/>
                </a:lnTo>
                <a:lnTo>
                  <a:pt x="1905" y="399"/>
                </a:lnTo>
                <a:lnTo>
                  <a:pt x="1901" y="413"/>
                </a:lnTo>
                <a:lnTo>
                  <a:pt x="1899" y="420"/>
                </a:lnTo>
                <a:lnTo>
                  <a:pt x="1898" y="427"/>
                </a:lnTo>
                <a:lnTo>
                  <a:pt x="1896" y="443"/>
                </a:lnTo>
                <a:lnTo>
                  <a:pt x="1896" y="451"/>
                </a:lnTo>
                <a:lnTo>
                  <a:pt x="1896" y="459"/>
                </a:lnTo>
                <a:lnTo>
                  <a:pt x="1896" y="571"/>
                </a:lnTo>
                <a:lnTo>
                  <a:pt x="2079" y="571"/>
                </a:lnTo>
                <a:lnTo>
                  <a:pt x="2079" y="777"/>
                </a:lnTo>
                <a:lnTo>
                  <a:pt x="1896" y="777"/>
                </a:lnTo>
                <a:lnTo>
                  <a:pt x="1896" y="1479"/>
                </a:lnTo>
                <a:lnTo>
                  <a:pt x="1645" y="1479"/>
                </a:lnTo>
                <a:lnTo>
                  <a:pt x="1645" y="779"/>
                </a:lnTo>
                <a:lnTo>
                  <a:pt x="1529" y="779"/>
                </a:lnTo>
                <a:lnTo>
                  <a:pt x="1529" y="576"/>
                </a:lnTo>
                <a:lnTo>
                  <a:pt x="1645" y="576"/>
                </a:lnTo>
                <a:lnTo>
                  <a:pt x="1645" y="482"/>
                </a:lnTo>
                <a:lnTo>
                  <a:pt x="1645" y="447"/>
                </a:lnTo>
                <a:lnTo>
                  <a:pt x="1646" y="430"/>
                </a:lnTo>
                <a:lnTo>
                  <a:pt x="1647" y="412"/>
                </a:lnTo>
                <a:lnTo>
                  <a:pt x="1649" y="395"/>
                </a:lnTo>
                <a:lnTo>
                  <a:pt x="1650" y="377"/>
                </a:lnTo>
                <a:lnTo>
                  <a:pt x="1653" y="360"/>
                </a:lnTo>
                <a:lnTo>
                  <a:pt x="1655" y="343"/>
                </a:lnTo>
                <a:lnTo>
                  <a:pt x="1659" y="326"/>
                </a:lnTo>
                <a:lnTo>
                  <a:pt x="1663" y="310"/>
                </a:lnTo>
                <a:lnTo>
                  <a:pt x="1667" y="294"/>
                </a:lnTo>
                <a:lnTo>
                  <a:pt x="1672" y="278"/>
                </a:lnTo>
                <a:lnTo>
                  <a:pt x="1678" y="262"/>
                </a:lnTo>
                <a:lnTo>
                  <a:pt x="1685" y="247"/>
                </a:lnTo>
                <a:lnTo>
                  <a:pt x="1692" y="233"/>
                </a:lnTo>
                <a:lnTo>
                  <a:pt x="1696" y="225"/>
                </a:lnTo>
                <a:lnTo>
                  <a:pt x="1700" y="218"/>
                </a:lnTo>
                <a:lnTo>
                  <a:pt x="1705" y="212"/>
                </a:lnTo>
                <a:lnTo>
                  <a:pt x="1709" y="205"/>
                </a:lnTo>
                <a:lnTo>
                  <a:pt x="1719" y="192"/>
                </a:lnTo>
                <a:lnTo>
                  <a:pt x="1730" y="180"/>
                </a:lnTo>
                <a:lnTo>
                  <a:pt x="1742" y="168"/>
                </a:lnTo>
                <a:lnTo>
                  <a:pt x="1755" y="157"/>
                </a:lnTo>
                <a:lnTo>
                  <a:pt x="1761" y="152"/>
                </a:lnTo>
                <a:lnTo>
                  <a:pt x="1769" y="147"/>
                </a:lnTo>
                <a:lnTo>
                  <a:pt x="1784" y="137"/>
                </a:lnTo>
                <a:lnTo>
                  <a:pt x="1791" y="133"/>
                </a:lnTo>
                <a:lnTo>
                  <a:pt x="1800" y="129"/>
                </a:lnTo>
                <a:lnTo>
                  <a:pt x="1817" y="121"/>
                </a:lnTo>
                <a:lnTo>
                  <a:pt x="1826" y="117"/>
                </a:lnTo>
                <a:lnTo>
                  <a:pt x="1835" y="114"/>
                </a:lnTo>
                <a:lnTo>
                  <a:pt x="1855" y="108"/>
                </a:lnTo>
                <a:lnTo>
                  <a:pt x="1876" y="103"/>
                </a:lnTo>
                <a:lnTo>
                  <a:pt x="1899" y="99"/>
                </a:lnTo>
                <a:lnTo>
                  <a:pt x="1910" y="98"/>
                </a:lnTo>
                <a:lnTo>
                  <a:pt x="1923" y="96"/>
                </a:lnTo>
                <a:lnTo>
                  <a:pt x="1948" y="95"/>
                </a:lnTo>
                <a:lnTo>
                  <a:pt x="1961" y="94"/>
                </a:lnTo>
                <a:lnTo>
                  <a:pt x="1974" y="94"/>
                </a:lnTo>
                <a:lnTo>
                  <a:pt x="1999" y="94"/>
                </a:lnTo>
                <a:lnTo>
                  <a:pt x="2021" y="95"/>
                </a:lnTo>
                <a:lnTo>
                  <a:pt x="2041" y="97"/>
                </a:lnTo>
                <a:lnTo>
                  <a:pt x="2061" y="99"/>
                </a:lnTo>
                <a:lnTo>
                  <a:pt x="2080" y="102"/>
                </a:lnTo>
                <a:lnTo>
                  <a:pt x="2100" y="106"/>
                </a:lnTo>
                <a:lnTo>
                  <a:pt x="2122" y="110"/>
                </a:lnTo>
                <a:lnTo>
                  <a:pt x="2146" y="115"/>
                </a:lnTo>
                <a:lnTo>
                  <a:pt x="2146" y="330"/>
                </a:lnTo>
                <a:lnTo>
                  <a:pt x="2122" y="325"/>
                </a:lnTo>
                <a:lnTo>
                  <a:pt x="2110" y="322"/>
                </a:lnTo>
                <a:lnTo>
                  <a:pt x="2097" y="319"/>
                </a:lnTo>
                <a:lnTo>
                  <a:pt x="2082" y="317"/>
                </a:lnTo>
                <a:lnTo>
                  <a:pt x="2066" y="316"/>
                </a:lnTo>
                <a:lnTo>
                  <a:pt x="2048" y="315"/>
                </a:lnTo>
                <a:lnTo>
                  <a:pt x="2027" y="3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77712" tIns="38856" rIns="77712" bIns="3885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>
              <a:latin typeface="Arial"/>
            </a:endParaRPr>
          </a:p>
        </p:txBody>
      </p:sp>
      <p:sp>
        <p:nvSpPr>
          <p:cNvPr id="8" name="(c)" hidden="1"/>
          <p:cNvSpPr txBox="1"/>
          <p:nvPr userDrawn="1"/>
        </p:nvSpPr>
        <p:spPr>
          <a:xfrm>
            <a:off x="10179581" y="7255256"/>
            <a:ext cx="176330" cy="261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i-FI" sz="170" b="0" dirty="0">
                <a:solidFill>
                  <a:prstClr val="white"/>
                </a:solidFill>
                <a:latin typeface="Arial"/>
              </a:rPr>
              <a:t>©grow. for fortum</a:t>
            </a:r>
            <a:endParaRPr lang="en-GB" sz="170" b="0" dirty="0" err="1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2242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</p:sldLayoutIdLst>
  <p:hf hdr="0" ftr="0" dt="0"/>
  <p:txStyles>
    <p:titleStyle>
      <a:lvl1pPr algn="l" defTabSz="777149" rtl="0" eaLnBrk="1" latinLnBrk="0" hangingPunct="1">
        <a:lnSpc>
          <a:spcPct val="85000"/>
        </a:lnSpc>
        <a:spcBef>
          <a:spcPct val="0"/>
        </a:spcBef>
        <a:buNone/>
        <a:defRPr sz="238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6668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700" kern="1200">
          <a:solidFill>
            <a:srgbClr val="000000"/>
          </a:solidFill>
          <a:latin typeface="+mn-lt"/>
          <a:ea typeface="+mn-ea"/>
          <a:cs typeface="+mn-cs"/>
        </a:defRPr>
      </a:lvl1pPr>
      <a:lvl2pPr marL="458734" indent="-23206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530" kern="1200">
          <a:solidFill>
            <a:srgbClr val="000000"/>
          </a:solidFill>
          <a:latin typeface="+mn-lt"/>
          <a:ea typeface="+mn-ea"/>
          <a:cs typeface="+mn-cs"/>
        </a:defRPr>
      </a:lvl2pPr>
      <a:lvl3pPr marL="685402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360" kern="1200">
          <a:solidFill>
            <a:srgbClr val="000000"/>
          </a:solidFill>
          <a:latin typeface="+mn-lt"/>
          <a:ea typeface="+mn-ea"/>
          <a:cs typeface="+mn-cs"/>
        </a:defRPr>
      </a:lvl3pPr>
      <a:lvl4pPr marL="910721" indent="-225320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190" kern="1200">
          <a:solidFill>
            <a:srgbClr val="000000"/>
          </a:solidFill>
          <a:latin typeface="+mn-lt"/>
          <a:ea typeface="+mn-ea"/>
          <a:cs typeface="+mn-cs"/>
        </a:defRPr>
      </a:lvl4pPr>
      <a:lvl5pPr marL="1144135" indent="-23341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190" kern="1200">
          <a:solidFill>
            <a:srgbClr val="000000"/>
          </a:solidFill>
          <a:latin typeface="+mn-lt"/>
          <a:ea typeface="+mn-ea"/>
          <a:cs typeface="+mn-cs"/>
        </a:defRPr>
      </a:lvl5pPr>
      <a:lvl6pPr marL="1370804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020" kern="1200">
          <a:solidFill>
            <a:srgbClr val="000000"/>
          </a:solidFill>
          <a:latin typeface="+mn-lt"/>
          <a:ea typeface="+mn-ea"/>
          <a:cs typeface="+mn-cs"/>
        </a:defRPr>
      </a:lvl6pPr>
      <a:lvl7pPr marL="1596123" indent="-225320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020" kern="1200">
          <a:solidFill>
            <a:srgbClr val="000000"/>
          </a:solidFill>
          <a:latin typeface="+mn-lt"/>
          <a:ea typeface="+mn-ea"/>
          <a:cs typeface="+mn-cs"/>
        </a:defRPr>
      </a:lvl7pPr>
      <a:lvl8pPr marL="1829537" indent="-23341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020" kern="1200">
          <a:solidFill>
            <a:srgbClr val="000000"/>
          </a:solidFill>
          <a:latin typeface="+mn-lt"/>
          <a:ea typeface="+mn-ea"/>
          <a:cs typeface="+mn-cs"/>
        </a:defRPr>
      </a:lvl8pPr>
      <a:lvl9pPr marL="2056206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02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574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149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723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297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2871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446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020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594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350" y="1674"/>
          <a:ext cx="1349" cy="16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8" name="think-cell Slide" r:id="rId19" imgW="270" imgH="270" progId="">
                  <p:embed/>
                </p:oleObj>
              </mc:Choice>
              <mc:Fallback>
                <p:oleObj name="think-cell Slide" r:id="rId19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" y="1674"/>
                        <a:ext cx="1349" cy="16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163" y="501826"/>
            <a:ext cx="9425289" cy="7591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3" y="1564031"/>
            <a:ext cx="9425289" cy="485600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3270" y="6686001"/>
            <a:ext cx="1224137" cy="26596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latin typeface="Arial"/>
              </a:rPr>
              <a:t>20.3.2017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7407" y="6686001"/>
            <a:ext cx="6364028" cy="26596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latin typeface="Arial"/>
              </a:rPr>
              <a:t> 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8163" y="6686003"/>
            <a:ext cx="245108" cy="265627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90E5A77-D385-4CDE-8FE8-D3E3CBE93E71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fortum2016"/>
          <p:cNvSpPr>
            <a:spLocks noChangeAspect="1" noEditPoints="1"/>
          </p:cNvSpPr>
          <p:nvPr userDrawn="1"/>
        </p:nvSpPr>
        <p:spPr bwMode="auto">
          <a:xfrm>
            <a:off x="8856544" y="6647527"/>
            <a:ext cx="1036908" cy="303467"/>
          </a:xfrm>
          <a:custGeom>
            <a:avLst/>
            <a:gdLst>
              <a:gd name="T0" fmla="*/ 317 w 6630"/>
              <a:gd name="T1" fmla="*/ 622 h 1565"/>
              <a:gd name="T2" fmla="*/ 549 w 6630"/>
              <a:gd name="T3" fmla="*/ 281 h 1565"/>
              <a:gd name="T4" fmla="*/ 146 w 6630"/>
              <a:gd name="T5" fmla="*/ 254 h 1565"/>
              <a:gd name="T6" fmla="*/ 2 w 6630"/>
              <a:gd name="T7" fmla="*/ 668 h 1565"/>
              <a:gd name="T8" fmla="*/ 113 w 6630"/>
              <a:gd name="T9" fmla="*/ 1146 h 1565"/>
              <a:gd name="T10" fmla="*/ 417 w 6630"/>
              <a:gd name="T11" fmla="*/ 1452 h 1565"/>
              <a:gd name="T12" fmla="*/ 862 w 6630"/>
              <a:gd name="T13" fmla="*/ 1565 h 1565"/>
              <a:gd name="T14" fmla="*/ 1067 w 6630"/>
              <a:gd name="T15" fmla="*/ 1206 h 1565"/>
              <a:gd name="T16" fmla="*/ 718 w 6630"/>
              <a:gd name="T17" fmla="*/ 1244 h 1565"/>
              <a:gd name="T18" fmla="*/ 395 w 6630"/>
              <a:gd name="T19" fmla="*/ 1028 h 1565"/>
              <a:gd name="T20" fmla="*/ 689 w 6630"/>
              <a:gd name="T21" fmla="*/ 1169 h 1565"/>
              <a:gd name="T22" fmla="*/ 1039 w 6630"/>
              <a:gd name="T23" fmla="*/ 1148 h 1565"/>
              <a:gd name="T24" fmla="*/ 1292 w 6630"/>
              <a:gd name="T25" fmla="*/ 840 h 1565"/>
              <a:gd name="T26" fmla="*/ 1208 w 6630"/>
              <a:gd name="T27" fmla="*/ 435 h 1565"/>
              <a:gd name="T28" fmla="*/ 902 w 6630"/>
              <a:gd name="T29" fmla="*/ 264 h 1565"/>
              <a:gd name="T30" fmla="*/ 518 w 6630"/>
              <a:gd name="T31" fmla="*/ 388 h 1565"/>
              <a:gd name="T32" fmla="*/ 372 w 6630"/>
              <a:gd name="T33" fmla="*/ 702 h 1565"/>
              <a:gd name="T34" fmla="*/ 3593 w 6630"/>
              <a:gd name="T35" fmla="*/ 799 h 1565"/>
              <a:gd name="T36" fmla="*/ 3366 w 6630"/>
              <a:gd name="T37" fmla="*/ 869 h 1565"/>
              <a:gd name="T38" fmla="*/ 3297 w 6630"/>
              <a:gd name="T39" fmla="*/ 570 h 1565"/>
              <a:gd name="T40" fmla="*/ 3419 w 6630"/>
              <a:gd name="T41" fmla="*/ 595 h 1565"/>
              <a:gd name="T42" fmla="*/ 4253 w 6630"/>
              <a:gd name="T43" fmla="*/ 1275 h 1565"/>
              <a:gd name="T44" fmla="*/ 4022 w 6630"/>
              <a:gd name="T45" fmla="*/ 1243 h 1565"/>
              <a:gd name="T46" fmla="*/ 3739 w 6630"/>
              <a:gd name="T47" fmla="*/ 1222 h 1565"/>
              <a:gd name="T48" fmla="*/ 3881 w 6630"/>
              <a:gd name="T49" fmla="*/ 1458 h 1565"/>
              <a:gd name="T50" fmla="*/ 2979 w 6630"/>
              <a:gd name="T51" fmla="*/ 1024 h 1565"/>
              <a:gd name="T52" fmla="*/ 2840 w 6630"/>
              <a:gd name="T53" fmla="*/ 1384 h 1565"/>
              <a:gd name="T54" fmla="*/ 2563 w 6630"/>
              <a:gd name="T55" fmla="*/ 1502 h 1565"/>
              <a:gd name="T56" fmla="*/ 2237 w 6630"/>
              <a:gd name="T57" fmla="*/ 1402 h 1565"/>
              <a:gd name="T58" fmla="*/ 2085 w 6630"/>
              <a:gd name="T59" fmla="*/ 1074 h 1565"/>
              <a:gd name="T60" fmla="*/ 2179 w 6630"/>
              <a:gd name="T61" fmla="*/ 715 h 1565"/>
              <a:gd name="T62" fmla="*/ 2521 w 6630"/>
              <a:gd name="T63" fmla="*/ 546 h 1565"/>
              <a:gd name="T64" fmla="*/ 2907 w 6630"/>
              <a:gd name="T65" fmla="*/ 740 h 1565"/>
              <a:gd name="T66" fmla="*/ 2711 w 6630"/>
              <a:gd name="T67" fmla="*/ 938 h 1565"/>
              <a:gd name="T68" fmla="*/ 2584 w 6630"/>
              <a:gd name="T69" fmla="*/ 769 h 1565"/>
              <a:gd name="T70" fmla="*/ 2395 w 6630"/>
              <a:gd name="T71" fmla="*/ 833 h 1565"/>
              <a:gd name="T72" fmla="*/ 2349 w 6630"/>
              <a:gd name="T73" fmla="*/ 1090 h 1565"/>
              <a:gd name="T74" fmla="*/ 2495 w 6630"/>
              <a:gd name="T75" fmla="*/ 1278 h 1565"/>
              <a:gd name="T76" fmla="*/ 2670 w 6630"/>
              <a:gd name="T77" fmla="*/ 1213 h 1565"/>
              <a:gd name="T78" fmla="*/ 4906 w 6630"/>
              <a:gd name="T79" fmla="*/ 1070 h 1565"/>
              <a:gd name="T80" fmla="*/ 4796 w 6630"/>
              <a:gd name="T81" fmla="*/ 1276 h 1565"/>
              <a:gd name="T82" fmla="*/ 4627 w 6630"/>
              <a:gd name="T83" fmla="*/ 1221 h 1565"/>
              <a:gd name="T84" fmla="*/ 4342 w 6630"/>
              <a:gd name="T85" fmla="*/ 1149 h 1565"/>
              <a:gd name="T86" fmla="*/ 4475 w 6630"/>
              <a:gd name="T87" fmla="*/ 1421 h 1565"/>
              <a:gd name="T88" fmla="*/ 4831 w 6630"/>
              <a:gd name="T89" fmla="*/ 1494 h 1565"/>
              <a:gd name="T90" fmla="*/ 5106 w 6630"/>
              <a:gd name="T91" fmla="*/ 1336 h 1565"/>
              <a:gd name="T92" fmla="*/ 6626 w 6630"/>
              <a:gd name="T93" fmla="*/ 838 h 1565"/>
              <a:gd name="T94" fmla="*/ 6501 w 6630"/>
              <a:gd name="T95" fmla="*/ 594 h 1565"/>
              <a:gd name="T96" fmla="*/ 6231 w 6630"/>
              <a:gd name="T97" fmla="*/ 567 h 1565"/>
              <a:gd name="T98" fmla="*/ 6057 w 6630"/>
              <a:gd name="T99" fmla="*/ 735 h 1565"/>
              <a:gd name="T100" fmla="*/ 5910 w 6630"/>
              <a:gd name="T101" fmla="*/ 572 h 1565"/>
              <a:gd name="T102" fmla="*/ 5667 w 6630"/>
              <a:gd name="T103" fmla="*/ 579 h 1565"/>
              <a:gd name="T104" fmla="*/ 5264 w 6630"/>
              <a:gd name="T105" fmla="*/ 1024 h 1565"/>
              <a:gd name="T106" fmla="*/ 5598 w 6630"/>
              <a:gd name="T107" fmla="*/ 820 h 1565"/>
              <a:gd name="T108" fmla="*/ 5767 w 6630"/>
              <a:gd name="T109" fmla="*/ 817 h 1565"/>
              <a:gd name="T110" fmla="*/ 6077 w 6630"/>
              <a:gd name="T111" fmla="*/ 1011 h 1565"/>
              <a:gd name="T112" fmla="*/ 6169 w 6630"/>
              <a:gd name="T113" fmla="*/ 804 h 1565"/>
              <a:gd name="T114" fmla="*/ 6344 w 6630"/>
              <a:gd name="T115" fmla="*/ 837 h 1565"/>
              <a:gd name="T116" fmla="*/ 1972 w 6630"/>
              <a:gd name="T117" fmla="*/ 324 h 1565"/>
              <a:gd name="T118" fmla="*/ 2079 w 6630"/>
              <a:gd name="T119" fmla="*/ 777 h 1565"/>
              <a:gd name="T120" fmla="*/ 1685 w 6630"/>
              <a:gd name="T121" fmla="*/ 247 h 1565"/>
              <a:gd name="T122" fmla="*/ 1910 w 6630"/>
              <a:gd name="T123" fmla="*/ 98 h 1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30" h="1565">
                <a:moveTo>
                  <a:pt x="375" y="995"/>
                </a:moveTo>
                <a:lnTo>
                  <a:pt x="362" y="972"/>
                </a:lnTo>
                <a:lnTo>
                  <a:pt x="351" y="949"/>
                </a:lnTo>
                <a:lnTo>
                  <a:pt x="341" y="925"/>
                </a:lnTo>
                <a:lnTo>
                  <a:pt x="333" y="901"/>
                </a:lnTo>
                <a:lnTo>
                  <a:pt x="329" y="889"/>
                </a:lnTo>
                <a:lnTo>
                  <a:pt x="325" y="876"/>
                </a:lnTo>
                <a:lnTo>
                  <a:pt x="319" y="851"/>
                </a:lnTo>
                <a:lnTo>
                  <a:pt x="314" y="826"/>
                </a:lnTo>
                <a:lnTo>
                  <a:pt x="310" y="801"/>
                </a:lnTo>
                <a:lnTo>
                  <a:pt x="309" y="788"/>
                </a:lnTo>
                <a:lnTo>
                  <a:pt x="308" y="775"/>
                </a:lnTo>
                <a:lnTo>
                  <a:pt x="307" y="762"/>
                </a:lnTo>
                <a:lnTo>
                  <a:pt x="306" y="749"/>
                </a:lnTo>
                <a:lnTo>
                  <a:pt x="306" y="724"/>
                </a:lnTo>
                <a:lnTo>
                  <a:pt x="307" y="698"/>
                </a:lnTo>
                <a:lnTo>
                  <a:pt x="309" y="673"/>
                </a:lnTo>
                <a:lnTo>
                  <a:pt x="311" y="660"/>
                </a:lnTo>
                <a:lnTo>
                  <a:pt x="313" y="647"/>
                </a:lnTo>
                <a:lnTo>
                  <a:pt x="315" y="635"/>
                </a:lnTo>
                <a:lnTo>
                  <a:pt x="317" y="622"/>
                </a:lnTo>
                <a:lnTo>
                  <a:pt x="323" y="597"/>
                </a:lnTo>
                <a:lnTo>
                  <a:pt x="330" y="572"/>
                </a:lnTo>
                <a:lnTo>
                  <a:pt x="338" y="548"/>
                </a:lnTo>
                <a:lnTo>
                  <a:pt x="348" y="524"/>
                </a:lnTo>
                <a:lnTo>
                  <a:pt x="358" y="500"/>
                </a:lnTo>
                <a:lnTo>
                  <a:pt x="364" y="488"/>
                </a:lnTo>
                <a:lnTo>
                  <a:pt x="370" y="477"/>
                </a:lnTo>
                <a:lnTo>
                  <a:pt x="376" y="465"/>
                </a:lnTo>
                <a:lnTo>
                  <a:pt x="383" y="454"/>
                </a:lnTo>
                <a:lnTo>
                  <a:pt x="397" y="432"/>
                </a:lnTo>
                <a:lnTo>
                  <a:pt x="404" y="421"/>
                </a:lnTo>
                <a:lnTo>
                  <a:pt x="412" y="410"/>
                </a:lnTo>
                <a:lnTo>
                  <a:pt x="428" y="390"/>
                </a:lnTo>
                <a:lnTo>
                  <a:pt x="445" y="369"/>
                </a:lnTo>
                <a:lnTo>
                  <a:pt x="464" y="350"/>
                </a:lnTo>
                <a:lnTo>
                  <a:pt x="483" y="331"/>
                </a:lnTo>
                <a:lnTo>
                  <a:pt x="504" y="314"/>
                </a:lnTo>
                <a:lnTo>
                  <a:pt x="515" y="305"/>
                </a:lnTo>
                <a:lnTo>
                  <a:pt x="526" y="297"/>
                </a:lnTo>
                <a:lnTo>
                  <a:pt x="537" y="289"/>
                </a:lnTo>
                <a:lnTo>
                  <a:pt x="549" y="281"/>
                </a:lnTo>
                <a:lnTo>
                  <a:pt x="573" y="267"/>
                </a:lnTo>
                <a:lnTo>
                  <a:pt x="629" y="57"/>
                </a:lnTo>
                <a:lnTo>
                  <a:pt x="419" y="0"/>
                </a:lnTo>
                <a:lnTo>
                  <a:pt x="401" y="11"/>
                </a:lnTo>
                <a:lnTo>
                  <a:pt x="383" y="23"/>
                </a:lnTo>
                <a:lnTo>
                  <a:pt x="365" y="35"/>
                </a:lnTo>
                <a:lnTo>
                  <a:pt x="347" y="47"/>
                </a:lnTo>
                <a:lnTo>
                  <a:pt x="330" y="60"/>
                </a:lnTo>
                <a:lnTo>
                  <a:pt x="314" y="73"/>
                </a:lnTo>
                <a:lnTo>
                  <a:pt x="297" y="86"/>
                </a:lnTo>
                <a:lnTo>
                  <a:pt x="282" y="100"/>
                </a:lnTo>
                <a:lnTo>
                  <a:pt x="266" y="114"/>
                </a:lnTo>
                <a:lnTo>
                  <a:pt x="251" y="128"/>
                </a:lnTo>
                <a:lnTo>
                  <a:pt x="237" y="143"/>
                </a:lnTo>
                <a:lnTo>
                  <a:pt x="222" y="158"/>
                </a:lnTo>
                <a:lnTo>
                  <a:pt x="209" y="173"/>
                </a:lnTo>
                <a:lnTo>
                  <a:pt x="195" y="188"/>
                </a:lnTo>
                <a:lnTo>
                  <a:pt x="182" y="204"/>
                </a:lnTo>
                <a:lnTo>
                  <a:pt x="170" y="220"/>
                </a:lnTo>
                <a:lnTo>
                  <a:pt x="158" y="237"/>
                </a:lnTo>
                <a:lnTo>
                  <a:pt x="146" y="254"/>
                </a:lnTo>
                <a:lnTo>
                  <a:pt x="135" y="270"/>
                </a:lnTo>
                <a:lnTo>
                  <a:pt x="124" y="288"/>
                </a:lnTo>
                <a:lnTo>
                  <a:pt x="114" y="305"/>
                </a:lnTo>
                <a:lnTo>
                  <a:pt x="104" y="323"/>
                </a:lnTo>
                <a:lnTo>
                  <a:pt x="94" y="341"/>
                </a:lnTo>
                <a:lnTo>
                  <a:pt x="85" y="359"/>
                </a:lnTo>
                <a:lnTo>
                  <a:pt x="76" y="377"/>
                </a:lnTo>
                <a:lnTo>
                  <a:pt x="68" y="395"/>
                </a:lnTo>
                <a:lnTo>
                  <a:pt x="61" y="414"/>
                </a:lnTo>
                <a:lnTo>
                  <a:pt x="53" y="433"/>
                </a:lnTo>
                <a:lnTo>
                  <a:pt x="47" y="452"/>
                </a:lnTo>
                <a:lnTo>
                  <a:pt x="40" y="471"/>
                </a:lnTo>
                <a:lnTo>
                  <a:pt x="29" y="509"/>
                </a:lnTo>
                <a:lnTo>
                  <a:pt x="24" y="529"/>
                </a:lnTo>
                <a:lnTo>
                  <a:pt x="19" y="548"/>
                </a:lnTo>
                <a:lnTo>
                  <a:pt x="15" y="568"/>
                </a:lnTo>
                <a:lnTo>
                  <a:pt x="12" y="588"/>
                </a:lnTo>
                <a:lnTo>
                  <a:pt x="9" y="608"/>
                </a:lnTo>
                <a:lnTo>
                  <a:pt x="6" y="628"/>
                </a:lnTo>
                <a:lnTo>
                  <a:pt x="4" y="648"/>
                </a:lnTo>
                <a:lnTo>
                  <a:pt x="2" y="668"/>
                </a:lnTo>
                <a:lnTo>
                  <a:pt x="1" y="688"/>
                </a:lnTo>
                <a:lnTo>
                  <a:pt x="0" y="708"/>
                </a:lnTo>
                <a:lnTo>
                  <a:pt x="0" y="749"/>
                </a:lnTo>
                <a:lnTo>
                  <a:pt x="1" y="769"/>
                </a:lnTo>
                <a:lnTo>
                  <a:pt x="2" y="790"/>
                </a:lnTo>
                <a:lnTo>
                  <a:pt x="4" y="810"/>
                </a:lnTo>
                <a:lnTo>
                  <a:pt x="6" y="831"/>
                </a:lnTo>
                <a:lnTo>
                  <a:pt x="13" y="871"/>
                </a:lnTo>
                <a:lnTo>
                  <a:pt x="16" y="891"/>
                </a:lnTo>
                <a:lnTo>
                  <a:pt x="21" y="911"/>
                </a:lnTo>
                <a:lnTo>
                  <a:pt x="25" y="932"/>
                </a:lnTo>
                <a:lnTo>
                  <a:pt x="31" y="952"/>
                </a:lnTo>
                <a:lnTo>
                  <a:pt x="36" y="972"/>
                </a:lnTo>
                <a:lnTo>
                  <a:pt x="43" y="991"/>
                </a:lnTo>
                <a:lnTo>
                  <a:pt x="57" y="1031"/>
                </a:lnTo>
                <a:lnTo>
                  <a:pt x="65" y="1050"/>
                </a:lnTo>
                <a:lnTo>
                  <a:pt x="73" y="1070"/>
                </a:lnTo>
                <a:lnTo>
                  <a:pt x="82" y="1089"/>
                </a:lnTo>
                <a:lnTo>
                  <a:pt x="92" y="1108"/>
                </a:lnTo>
                <a:lnTo>
                  <a:pt x="102" y="1127"/>
                </a:lnTo>
                <a:lnTo>
                  <a:pt x="113" y="1146"/>
                </a:lnTo>
                <a:lnTo>
                  <a:pt x="124" y="1165"/>
                </a:lnTo>
                <a:lnTo>
                  <a:pt x="135" y="1183"/>
                </a:lnTo>
                <a:lnTo>
                  <a:pt x="147" y="1201"/>
                </a:lnTo>
                <a:lnTo>
                  <a:pt x="159" y="1218"/>
                </a:lnTo>
                <a:lnTo>
                  <a:pt x="172" y="1235"/>
                </a:lnTo>
                <a:lnTo>
                  <a:pt x="185" y="1252"/>
                </a:lnTo>
                <a:lnTo>
                  <a:pt x="198" y="1268"/>
                </a:lnTo>
                <a:lnTo>
                  <a:pt x="212" y="1284"/>
                </a:lnTo>
                <a:lnTo>
                  <a:pt x="226" y="1299"/>
                </a:lnTo>
                <a:lnTo>
                  <a:pt x="240" y="1314"/>
                </a:lnTo>
                <a:lnTo>
                  <a:pt x="255" y="1329"/>
                </a:lnTo>
                <a:lnTo>
                  <a:pt x="270" y="1343"/>
                </a:lnTo>
                <a:lnTo>
                  <a:pt x="285" y="1357"/>
                </a:lnTo>
                <a:lnTo>
                  <a:pt x="301" y="1370"/>
                </a:lnTo>
                <a:lnTo>
                  <a:pt x="317" y="1383"/>
                </a:lnTo>
                <a:lnTo>
                  <a:pt x="333" y="1396"/>
                </a:lnTo>
                <a:lnTo>
                  <a:pt x="349" y="1408"/>
                </a:lnTo>
                <a:lnTo>
                  <a:pt x="366" y="1419"/>
                </a:lnTo>
                <a:lnTo>
                  <a:pt x="383" y="1431"/>
                </a:lnTo>
                <a:lnTo>
                  <a:pt x="400" y="1441"/>
                </a:lnTo>
                <a:lnTo>
                  <a:pt x="417" y="1452"/>
                </a:lnTo>
                <a:lnTo>
                  <a:pt x="435" y="1462"/>
                </a:lnTo>
                <a:lnTo>
                  <a:pt x="453" y="1471"/>
                </a:lnTo>
                <a:lnTo>
                  <a:pt x="471" y="1480"/>
                </a:lnTo>
                <a:lnTo>
                  <a:pt x="489" y="1489"/>
                </a:lnTo>
                <a:lnTo>
                  <a:pt x="508" y="1497"/>
                </a:lnTo>
                <a:lnTo>
                  <a:pt x="526" y="1505"/>
                </a:lnTo>
                <a:lnTo>
                  <a:pt x="545" y="1512"/>
                </a:lnTo>
                <a:lnTo>
                  <a:pt x="564" y="1519"/>
                </a:lnTo>
                <a:lnTo>
                  <a:pt x="583" y="1525"/>
                </a:lnTo>
                <a:lnTo>
                  <a:pt x="622" y="1536"/>
                </a:lnTo>
                <a:lnTo>
                  <a:pt x="641" y="1541"/>
                </a:lnTo>
                <a:lnTo>
                  <a:pt x="661" y="1546"/>
                </a:lnTo>
                <a:lnTo>
                  <a:pt x="680" y="1550"/>
                </a:lnTo>
                <a:lnTo>
                  <a:pt x="700" y="1554"/>
                </a:lnTo>
                <a:lnTo>
                  <a:pt x="720" y="1557"/>
                </a:lnTo>
                <a:lnTo>
                  <a:pt x="740" y="1559"/>
                </a:lnTo>
                <a:lnTo>
                  <a:pt x="760" y="1561"/>
                </a:lnTo>
                <a:lnTo>
                  <a:pt x="780" y="1563"/>
                </a:lnTo>
                <a:lnTo>
                  <a:pt x="800" y="1564"/>
                </a:lnTo>
                <a:lnTo>
                  <a:pt x="821" y="1565"/>
                </a:lnTo>
                <a:lnTo>
                  <a:pt x="862" y="1565"/>
                </a:lnTo>
                <a:lnTo>
                  <a:pt x="882" y="1564"/>
                </a:lnTo>
                <a:lnTo>
                  <a:pt x="903" y="1563"/>
                </a:lnTo>
                <a:lnTo>
                  <a:pt x="923" y="1561"/>
                </a:lnTo>
                <a:lnTo>
                  <a:pt x="943" y="1559"/>
                </a:lnTo>
                <a:lnTo>
                  <a:pt x="984" y="1553"/>
                </a:lnTo>
                <a:lnTo>
                  <a:pt x="1004" y="1549"/>
                </a:lnTo>
                <a:lnTo>
                  <a:pt x="1024" y="1545"/>
                </a:lnTo>
                <a:lnTo>
                  <a:pt x="1044" y="1540"/>
                </a:lnTo>
                <a:lnTo>
                  <a:pt x="1064" y="1535"/>
                </a:lnTo>
                <a:lnTo>
                  <a:pt x="1084" y="1529"/>
                </a:lnTo>
                <a:lnTo>
                  <a:pt x="1104" y="1522"/>
                </a:lnTo>
                <a:lnTo>
                  <a:pt x="1143" y="1508"/>
                </a:lnTo>
                <a:lnTo>
                  <a:pt x="1163" y="1500"/>
                </a:lnTo>
                <a:lnTo>
                  <a:pt x="1182" y="1492"/>
                </a:lnTo>
                <a:lnTo>
                  <a:pt x="1202" y="1483"/>
                </a:lnTo>
                <a:lnTo>
                  <a:pt x="1221" y="1473"/>
                </a:lnTo>
                <a:lnTo>
                  <a:pt x="1240" y="1463"/>
                </a:lnTo>
                <a:lnTo>
                  <a:pt x="1259" y="1453"/>
                </a:lnTo>
                <a:lnTo>
                  <a:pt x="1105" y="1187"/>
                </a:lnTo>
                <a:lnTo>
                  <a:pt x="1080" y="1200"/>
                </a:lnTo>
                <a:lnTo>
                  <a:pt x="1067" y="1206"/>
                </a:lnTo>
                <a:lnTo>
                  <a:pt x="1055" y="1212"/>
                </a:lnTo>
                <a:lnTo>
                  <a:pt x="1029" y="1223"/>
                </a:lnTo>
                <a:lnTo>
                  <a:pt x="1016" y="1227"/>
                </a:lnTo>
                <a:lnTo>
                  <a:pt x="1004" y="1232"/>
                </a:lnTo>
                <a:lnTo>
                  <a:pt x="991" y="1236"/>
                </a:lnTo>
                <a:lnTo>
                  <a:pt x="978" y="1240"/>
                </a:lnTo>
                <a:lnTo>
                  <a:pt x="965" y="1243"/>
                </a:lnTo>
                <a:lnTo>
                  <a:pt x="952" y="1246"/>
                </a:lnTo>
                <a:lnTo>
                  <a:pt x="939" y="1248"/>
                </a:lnTo>
                <a:lnTo>
                  <a:pt x="926" y="1251"/>
                </a:lnTo>
                <a:lnTo>
                  <a:pt x="899" y="1254"/>
                </a:lnTo>
                <a:lnTo>
                  <a:pt x="873" y="1257"/>
                </a:lnTo>
                <a:lnTo>
                  <a:pt x="860" y="1257"/>
                </a:lnTo>
                <a:lnTo>
                  <a:pt x="847" y="1258"/>
                </a:lnTo>
                <a:lnTo>
                  <a:pt x="820" y="1257"/>
                </a:lnTo>
                <a:lnTo>
                  <a:pt x="794" y="1256"/>
                </a:lnTo>
                <a:lnTo>
                  <a:pt x="768" y="1253"/>
                </a:lnTo>
                <a:lnTo>
                  <a:pt x="756" y="1251"/>
                </a:lnTo>
                <a:lnTo>
                  <a:pt x="743" y="1249"/>
                </a:lnTo>
                <a:lnTo>
                  <a:pt x="730" y="1247"/>
                </a:lnTo>
                <a:lnTo>
                  <a:pt x="718" y="1244"/>
                </a:lnTo>
                <a:lnTo>
                  <a:pt x="693" y="1238"/>
                </a:lnTo>
                <a:lnTo>
                  <a:pt x="680" y="1234"/>
                </a:lnTo>
                <a:lnTo>
                  <a:pt x="668" y="1230"/>
                </a:lnTo>
                <a:lnTo>
                  <a:pt x="644" y="1222"/>
                </a:lnTo>
                <a:lnTo>
                  <a:pt x="632" y="1217"/>
                </a:lnTo>
                <a:lnTo>
                  <a:pt x="620" y="1212"/>
                </a:lnTo>
                <a:lnTo>
                  <a:pt x="597" y="1201"/>
                </a:lnTo>
                <a:lnTo>
                  <a:pt x="574" y="1189"/>
                </a:lnTo>
                <a:lnTo>
                  <a:pt x="552" y="1176"/>
                </a:lnTo>
                <a:lnTo>
                  <a:pt x="541" y="1170"/>
                </a:lnTo>
                <a:lnTo>
                  <a:pt x="531" y="1162"/>
                </a:lnTo>
                <a:lnTo>
                  <a:pt x="520" y="1155"/>
                </a:lnTo>
                <a:lnTo>
                  <a:pt x="510" y="1148"/>
                </a:lnTo>
                <a:lnTo>
                  <a:pt x="490" y="1132"/>
                </a:lnTo>
                <a:lnTo>
                  <a:pt x="471" y="1115"/>
                </a:lnTo>
                <a:lnTo>
                  <a:pt x="453" y="1097"/>
                </a:lnTo>
                <a:lnTo>
                  <a:pt x="444" y="1088"/>
                </a:lnTo>
                <a:lnTo>
                  <a:pt x="435" y="1078"/>
                </a:lnTo>
                <a:lnTo>
                  <a:pt x="418" y="1059"/>
                </a:lnTo>
                <a:lnTo>
                  <a:pt x="403" y="1038"/>
                </a:lnTo>
                <a:lnTo>
                  <a:pt x="395" y="1028"/>
                </a:lnTo>
                <a:lnTo>
                  <a:pt x="388" y="1017"/>
                </a:lnTo>
                <a:lnTo>
                  <a:pt x="381" y="1006"/>
                </a:lnTo>
                <a:lnTo>
                  <a:pt x="375" y="995"/>
                </a:lnTo>
                <a:close/>
                <a:moveTo>
                  <a:pt x="431" y="962"/>
                </a:moveTo>
                <a:lnTo>
                  <a:pt x="443" y="982"/>
                </a:lnTo>
                <a:lnTo>
                  <a:pt x="456" y="1000"/>
                </a:lnTo>
                <a:lnTo>
                  <a:pt x="469" y="1018"/>
                </a:lnTo>
                <a:lnTo>
                  <a:pt x="484" y="1035"/>
                </a:lnTo>
                <a:lnTo>
                  <a:pt x="499" y="1052"/>
                </a:lnTo>
                <a:lnTo>
                  <a:pt x="516" y="1067"/>
                </a:lnTo>
                <a:lnTo>
                  <a:pt x="532" y="1082"/>
                </a:lnTo>
                <a:lnTo>
                  <a:pt x="550" y="1096"/>
                </a:lnTo>
                <a:lnTo>
                  <a:pt x="568" y="1109"/>
                </a:lnTo>
                <a:lnTo>
                  <a:pt x="587" y="1121"/>
                </a:lnTo>
                <a:lnTo>
                  <a:pt x="597" y="1127"/>
                </a:lnTo>
                <a:lnTo>
                  <a:pt x="606" y="1133"/>
                </a:lnTo>
                <a:lnTo>
                  <a:pt x="626" y="1143"/>
                </a:lnTo>
                <a:lnTo>
                  <a:pt x="647" y="1153"/>
                </a:lnTo>
                <a:lnTo>
                  <a:pt x="667" y="1161"/>
                </a:lnTo>
                <a:lnTo>
                  <a:pt x="678" y="1165"/>
                </a:lnTo>
                <a:lnTo>
                  <a:pt x="689" y="1169"/>
                </a:lnTo>
                <a:lnTo>
                  <a:pt x="710" y="1175"/>
                </a:lnTo>
                <a:lnTo>
                  <a:pt x="721" y="1178"/>
                </a:lnTo>
                <a:lnTo>
                  <a:pt x="732" y="1181"/>
                </a:lnTo>
                <a:lnTo>
                  <a:pt x="743" y="1183"/>
                </a:lnTo>
                <a:lnTo>
                  <a:pt x="754" y="1185"/>
                </a:lnTo>
                <a:lnTo>
                  <a:pt x="777" y="1189"/>
                </a:lnTo>
                <a:lnTo>
                  <a:pt x="799" y="1191"/>
                </a:lnTo>
                <a:lnTo>
                  <a:pt x="811" y="1192"/>
                </a:lnTo>
                <a:lnTo>
                  <a:pt x="822" y="1193"/>
                </a:lnTo>
                <a:lnTo>
                  <a:pt x="846" y="1193"/>
                </a:lnTo>
                <a:lnTo>
                  <a:pt x="858" y="1193"/>
                </a:lnTo>
                <a:lnTo>
                  <a:pt x="869" y="1192"/>
                </a:lnTo>
                <a:lnTo>
                  <a:pt x="892" y="1190"/>
                </a:lnTo>
                <a:lnTo>
                  <a:pt x="904" y="1188"/>
                </a:lnTo>
                <a:lnTo>
                  <a:pt x="915" y="1187"/>
                </a:lnTo>
                <a:lnTo>
                  <a:pt x="938" y="1182"/>
                </a:lnTo>
                <a:lnTo>
                  <a:pt x="961" y="1177"/>
                </a:lnTo>
                <a:lnTo>
                  <a:pt x="984" y="1170"/>
                </a:lnTo>
                <a:lnTo>
                  <a:pt x="1006" y="1162"/>
                </a:lnTo>
                <a:lnTo>
                  <a:pt x="1028" y="1153"/>
                </a:lnTo>
                <a:lnTo>
                  <a:pt x="1039" y="1148"/>
                </a:lnTo>
                <a:lnTo>
                  <a:pt x="1050" y="1142"/>
                </a:lnTo>
                <a:lnTo>
                  <a:pt x="1072" y="1130"/>
                </a:lnTo>
                <a:lnTo>
                  <a:pt x="1093" y="1117"/>
                </a:lnTo>
                <a:lnTo>
                  <a:pt x="1104" y="1111"/>
                </a:lnTo>
                <a:lnTo>
                  <a:pt x="1114" y="1103"/>
                </a:lnTo>
                <a:lnTo>
                  <a:pt x="1133" y="1089"/>
                </a:lnTo>
                <a:lnTo>
                  <a:pt x="1151" y="1073"/>
                </a:lnTo>
                <a:lnTo>
                  <a:pt x="1160" y="1065"/>
                </a:lnTo>
                <a:lnTo>
                  <a:pt x="1169" y="1057"/>
                </a:lnTo>
                <a:lnTo>
                  <a:pt x="1185" y="1040"/>
                </a:lnTo>
                <a:lnTo>
                  <a:pt x="1200" y="1022"/>
                </a:lnTo>
                <a:lnTo>
                  <a:pt x="1215" y="1004"/>
                </a:lnTo>
                <a:lnTo>
                  <a:pt x="1228" y="985"/>
                </a:lnTo>
                <a:lnTo>
                  <a:pt x="1240" y="965"/>
                </a:lnTo>
                <a:lnTo>
                  <a:pt x="1246" y="955"/>
                </a:lnTo>
                <a:lnTo>
                  <a:pt x="1251" y="945"/>
                </a:lnTo>
                <a:lnTo>
                  <a:pt x="1262" y="925"/>
                </a:lnTo>
                <a:lnTo>
                  <a:pt x="1271" y="904"/>
                </a:lnTo>
                <a:lnTo>
                  <a:pt x="1279" y="883"/>
                </a:lnTo>
                <a:lnTo>
                  <a:pt x="1286" y="862"/>
                </a:lnTo>
                <a:lnTo>
                  <a:pt x="1292" y="840"/>
                </a:lnTo>
                <a:lnTo>
                  <a:pt x="1297" y="818"/>
                </a:lnTo>
                <a:lnTo>
                  <a:pt x="1301" y="796"/>
                </a:lnTo>
                <a:lnTo>
                  <a:pt x="1304" y="772"/>
                </a:lnTo>
                <a:lnTo>
                  <a:pt x="1306" y="750"/>
                </a:lnTo>
                <a:lnTo>
                  <a:pt x="1307" y="728"/>
                </a:lnTo>
                <a:lnTo>
                  <a:pt x="1307" y="705"/>
                </a:lnTo>
                <a:lnTo>
                  <a:pt x="1306" y="683"/>
                </a:lnTo>
                <a:lnTo>
                  <a:pt x="1303" y="661"/>
                </a:lnTo>
                <a:lnTo>
                  <a:pt x="1300" y="639"/>
                </a:lnTo>
                <a:lnTo>
                  <a:pt x="1296" y="617"/>
                </a:lnTo>
                <a:lnTo>
                  <a:pt x="1290" y="595"/>
                </a:lnTo>
                <a:lnTo>
                  <a:pt x="1284" y="573"/>
                </a:lnTo>
                <a:lnTo>
                  <a:pt x="1276" y="552"/>
                </a:lnTo>
                <a:lnTo>
                  <a:pt x="1272" y="542"/>
                </a:lnTo>
                <a:lnTo>
                  <a:pt x="1267" y="531"/>
                </a:lnTo>
                <a:lnTo>
                  <a:pt x="1262" y="521"/>
                </a:lnTo>
                <a:lnTo>
                  <a:pt x="1257" y="511"/>
                </a:lnTo>
                <a:lnTo>
                  <a:pt x="1247" y="491"/>
                </a:lnTo>
                <a:lnTo>
                  <a:pt x="1235" y="472"/>
                </a:lnTo>
                <a:lnTo>
                  <a:pt x="1222" y="453"/>
                </a:lnTo>
                <a:lnTo>
                  <a:pt x="1208" y="435"/>
                </a:lnTo>
                <a:lnTo>
                  <a:pt x="1194" y="418"/>
                </a:lnTo>
                <a:lnTo>
                  <a:pt x="1178" y="401"/>
                </a:lnTo>
                <a:lnTo>
                  <a:pt x="1162" y="386"/>
                </a:lnTo>
                <a:lnTo>
                  <a:pt x="1145" y="371"/>
                </a:lnTo>
                <a:lnTo>
                  <a:pt x="1128" y="357"/>
                </a:lnTo>
                <a:lnTo>
                  <a:pt x="1119" y="350"/>
                </a:lnTo>
                <a:lnTo>
                  <a:pt x="1110" y="344"/>
                </a:lnTo>
                <a:lnTo>
                  <a:pt x="1091" y="332"/>
                </a:lnTo>
                <a:lnTo>
                  <a:pt x="1082" y="326"/>
                </a:lnTo>
                <a:lnTo>
                  <a:pt x="1072" y="320"/>
                </a:lnTo>
                <a:lnTo>
                  <a:pt x="1052" y="310"/>
                </a:lnTo>
                <a:lnTo>
                  <a:pt x="1032" y="300"/>
                </a:lnTo>
                <a:lnTo>
                  <a:pt x="1011" y="292"/>
                </a:lnTo>
                <a:lnTo>
                  <a:pt x="1000" y="288"/>
                </a:lnTo>
                <a:lnTo>
                  <a:pt x="990" y="284"/>
                </a:lnTo>
                <a:lnTo>
                  <a:pt x="968" y="278"/>
                </a:lnTo>
                <a:lnTo>
                  <a:pt x="957" y="275"/>
                </a:lnTo>
                <a:lnTo>
                  <a:pt x="946" y="272"/>
                </a:lnTo>
                <a:lnTo>
                  <a:pt x="935" y="270"/>
                </a:lnTo>
                <a:lnTo>
                  <a:pt x="924" y="267"/>
                </a:lnTo>
                <a:lnTo>
                  <a:pt x="902" y="264"/>
                </a:lnTo>
                <a:lnTo>
                  <a:pt x="879" y="261"/>
                </a:lnTo>
                <a:lnTo>
                  <a:pt x="868" y="261"/>
                </a:lnTo>
                <a:lnTo>
                  <a:pt x="856" y="260"/>
                </a:lnTo>
                <a:lnTo>
                  <a:pt x="833" y="260"/>
                </a:lnTo>
                <a:lnTo>
                  <a:pt x="821" y="260"/>
                </a:lnTo>
                <a:lnTo>
                  <a:pt x="809" y="261"/>
                </a:lnTo>
                <a:lnTo>
                  <a:pt x="786" y="263"/>
                </a:lnTo>
                <a:lnTo>
                  <a:pt x="775" y="264"/>
                </a:lnTo>
                <a:lnTo>
                  <a:pt x="763" y="266"/>
                </a:lnTo>
                <a:lnTo>
                  <a:pt x="740" y="270"/>
                </a:lnTo>
                <a:lnTo>
                  <a:pt x="718" y="276"/>
                </a:lnTo>
                <a:lnTo>
                  <a:pt x="695" y="283"/>
                </a:lnTo>
                <a:lnTo>
                  <a:pt x="672" y="291"/>
                </a:lnTo>
                <a:lnTo>
                  <a:pt x="650" y="300"/>
                </a:lnTo>
                <a:lnTo>
                  <a:pt x="627" y="311"/>
                </a:lnTo>
                <a:lnTo>
                  <a:pt x="605" y="323"/>
                </a:lnTo>
                <a:lnTo>
                  <a:pt x="584" y="336"/>
                </a:lnTo>
                <a:lnTo>
                  <a:pt x="564" y="350"/>
                </a:lnTo>
                <a:lnTo>
                  <a:pt x="545" y="364"/>
                </a:lnTo>
                <a:lnTo>
                  <a:pt x="527" y="380"/>
                </a:lnTo>
                <a:lnTo>
                  <a:pt x="518" y="388"/>
                </a:lnTo>
                <a:lnTo>
                  <a:pt x="510" y="396"/>
                </a:lnTo>
                <a:lnTo>
                  <a:pt x="493" y="413"/>
                </a:lnTo>
                <a:lnTo>
                  <a:pt x="478" y="431"/>
                </a:lnTo>
                <a:lnTo>
                  <a:pt x="471" y="440"/>
                </a:lnTo>
                <a:lnTo>
                  <a:pt x="464" y="449"/>
                </a:lnTo>
                <a:lnTo>
                  <a:pt x="451" y="468"/>
                </a:lnTo>
                <a:lnTo>
                  <a:pt x="438" y="487"/>
                </a:lnTo>
                <a:lnTo>
                  <a:pt x="433" y="497"/>
                </a:lnTo>
                <a:lnTo>
                  <a:pt x="427" y="507"/>
                </a:lnTo>
                <a:lnTo>
                  <a:pt x="417" y="528"/>
                </a:lnTo>
                <a:lnTo>
                  <a:pt x="408" y="549"/>
                </a:lnTo>
                <a:lnTo>
                  <a:pt x="404" y="559"/>
                </a:lnTo>
                <a:lnTo>
                  <a:pt x="400" y="570"/>
                </a:lnTo>
                <a:lnTo>
                  <a:pt x="392" y="591"/>
                </a:lnTo>
                <a:lnTo>
                  <a:pt x="386" y="613"/>
                </a:lnTo>
                <a:lnTo>
                  <a:pt x="384" y="624"/>
                </a:lnTo>
                <a:lnTo>
                  <a:pt x="381" y="635"/>
                </a:lnTo>
                <a:lnTo>
                  <a:pt x="379" y="646"/>
                </a:lnTo>
                <a:lnTo>
                  <a:pt x="377" y="657"/>
                </a:lnTo>
                <a:lnTo>
                  <a:pt x="374" y="679"/>
                </a:lnTo>
                <a:lnTo>
                  <a:pt x="372" y="702"/>
                </a:lnTo>
                <a:lnTo>
                  <a:pt x="371" y="724"/>
                </a:lnTo>
                <a:lnTo>
                  <a:pt x="371" y="747"/>
                </a:lnTo>
                <a:lnTo>
                  <a:pt x="372" y="758"/>
                </a:lnTo>
                <a:lnTo>
                  <a:pt x="372" y="769"/>
                </a:lnTo>
                <a:lnTo>
                  <a:pt x="373" y="781"/>
                </a:lnTo>
                <a:lnTo>
                  <a:pt x="375" y="792"/>
                </a:lnTo>
                <a:lnTo>
                  <a:pt x="378" y="815"/>
                </a:lnTo>
                <a:lnTo>
                  <a:pt x="382" y="837"/>
                </a:lnTo>
                <a:lnTo>
                  <a:pt x="388" y="858"/>
                </a:lnTo>
                <a:lnTo>
                  <a:pt x="394" y="880"/>
                </a:lnTo>
                <a:lnTo>
                  <a:pt x="402" y="901"/>
                </a:lnTo>
                <a:lnTo>
                  <a:pt x="406" y="911"/>
                </a:lnTo>
                <a:lnTo>
                  <a:pt x="410" y="922"/>
                </a:lnTo>
                <a:lnTo>
                  <a:pt x="415" y="932"/>
                </a:lnTo>
                <a:lnTo>
                  <a:pt x="420" y="942"/>
                </a:lnTo>
                <a:lnTo>
                  <a:pt x="431" y="962"/>
                </a:lnTo>
                <a:close/>
                <a:moveTo>
                  <a:pt x="3652" y="820"/>
                </a:moveTo>
                <a:lnTo>
                  <a:pt x="3636" y="813"/>
                </a:lnTo>
                <a:lnTo>
                  <a:pt x="3621" y="807"/>
                </a:lnTo>
                <a:lnTo>
                  <a:pt x="3606" y="802"/>
                </a:lnTo>
                <a:lnTo>
                  <a:pt x="3593" y="799"/>
                </a:lnTo>
                <a:lnTo>
                  <a:pt x="3579" y="796"/>
                </a:lnTo>
                <a:lnTo>
                  <a:pt x="3564" y="795"/>
                </a:lnTo>
                <a:lnTo>
                  <a:pt x="3549" y="794"/>
                </a:lnTo>
                <a:lnTo>
                  <a:pt x="3533" y="793"/>
                </a:lnTo>
                <a:lnTo>
                  <a:pt x="3520" y="794"/>
                </a:lnTo>
                <a:lnTo>
                  <a:pt x="3507" y="795"/>
                </a:lnTo>
                <a:lnTo>
                  <a:pt x="3494" y="796"/>
                </a:lnTo>
                <a:lnTo>
                  <a:pt x="3488" y="797"/>
                </a:lnTo>
                <a:lnTo>
                  <a:pt x="3482" y="798"/>
                </a:lnTo>
                <a:lnTo>
                  <a:pt x="3470" y="801"/>
                </a:lnTo>
                <a:lnTo>
                  <a:pt x="3458" y="804"/>
                </a:lnTo>
                <a:lnTo>
                  <a:pt x="3447" y="808"/>
                </a:lnTo>
                <a:lnTo>
                  <a:pt x="3437" y="813"/>
                </a:lnTo>
                <a:lnTo>
                  <a:pt x="3426" y="818"/>
                </a:lnTo>
                <a:lnTo>
                  <a:pt x="3417" y="824"/>
                </a:lnTo>
                <a:lnTo>
                  <a:pt x="3407" y="830"/>
                </a:lnTo>
                <a:lnTo>
                  <a:pt x="3398" y="837"/>
                </a:lnTo>
                <a:lnTo>
                  <a:pt x="3389" y="844"/>
                </a:lnTo>
                <a:lnTo>
                  <a:pt x="3381" y="852"/>
                </a:lnTo>
                <a:lnTo>
                  <a:pt x="3373" y="860"/>
                </a:lnTo>
                <a:lnTo>
                  <a:pt x="3366" y="869"/>
                </a:lnTo>
                <a:lnTo>
                  <a:pt x="3359" y="878"/>
                </a:lnTo>
                <a:lnTo>
                  <a:pt x="3352" y="888"/>
                </a:lnTo>
                <a:lnTo>
                  <a:pt x="3346" y="899"/>
                </a:lnTo>
                <a:lnTo>
                  <a:pt x="3340" y="910"/>
                </a:lnTo>
                <a:lnTo>
                  <a:pt x="3335" y="921"/>
                </a:lnTo>
                <a:lnTo>
                  <a:pt x="3330" y="933"/>
                </a:lnTo>
                <a:lnTo>
                  <a:pt x="3325" y="945"/>
                </a:lnTo>
                <a:lnTo>
                  <a:pt x="3321" y="958"/>
                </a:lnTo>
                <a:lnTo>
                  <a:pt x="3318" y="971"/>
                </a:lnTo>
                <a:lnTo>
                  <a:pt x="3315" y="985"/>
                </a:lnTo>
                <a:lnTo>
                  <a:pt x="3312" y="999"/>
                </a:lnTo>
                <a:lnTo>
                  <a:pt x="3310" y="1013"/>
                </a:lnTo>
                <a:lnTo>
                  <a:pt x="3308" y="1028"/>
                </a:lnTo>
                <a:lnTo>
                  <a:pt x="3307" y="1044"/>
                </a:lnTo>
                <a:lnTo>
                  <a:pt x="3306" y="1059"/>
                </a:lnTo>
                <a:lnTo>
                  <a:pt x="3306" y="1076"/>
                </a:lnTo>
                <a:lnTo>
                  <a:pt x="3306" y="1478"/>
                </a:lnTo>
                <a:lnTo>
                  <a:pt x="3048" y="1478"/>
                </a:lnTo>
                <a:lnTo>
                  <a:pt x="3048" y="1024"/>
                </a:lnTo>
                <a:lnTo>
                  <a:pt x="3048" y="570"/>
                </a:lnTo>
                <a:lnTo>
                  <a:pt x="3297" y="570"/>
                </a:lnTo>
                <a:lnTo>
                  <a:pt x="3297" y="776"/>
                </a:lnTo>
                <a:lnTo>
                  <a:pt x="3300" y="764"/>
                </a:lnTo>
                <a:lnTo>
                  <a:pt x="3304" y="751"/>
                </a:lnTo>
                <a:lnTo>
                  <a:pt x="3308" y="739"/>
                </a:lnTo>
                <a:lnTo>
                  <a:pt x="3312" y="727"/>
                </a:lnTo>
                <a:lnTo>
                  <a:pt x="3317" y="716"/>
                </a:lnTo>
                <a:lnTo>
                  <a:pt x="3322" y="705"/>
                </a:lnTo>
                <a:lnTo>
                  <a:pt x="3327" y="694"/>
                </a:lnTo>
                <a:lnTo>
                  <a:pt x="3333" y="684"/>
                </a:lnTo>
                <a:lnTo>
                  <a:pt x="3339" y="674"/>
                </a:lnTo>
                <a:lnTo>
                  <a:pt x="3346" y="664"/>
                </a:lnTo>
                <a:lnTo>
                  <a:pt x="3352" y="655"/>
                </a:lnTo>
                <a:lnTo>
                  <a:pt x="3360" y="646"/>
                </a:lnTo>
                <a:lnTo>
                  <a:pt x="3367" y="638"/>
                </a:lnTo>
                <a:lnTo>
                  <a:pt x="3375" y="630"/>
                </a:lnTo>
                <a:lnTo>
                  <a:pt x="3383" y="622"/>
                </a:lnTo>
                <a:lnTo>
                  <a:pt x="3392" y="615"/>
                </a:lnTo>
                <a:lnTo>
                  <a:pt x="3396" y="611"/>
                </a:lnTo>
                <a:lnTo>
                  <a:pt x="3401" y="608"/>
                </a:lnTo>
                <a:lnTo>
                  <a:pt x="3410" y="601"/>
                </a:lnTo>
                <a:lnTo>
                  <a:pt x="3419" y="595"/>
                </a:lnTo>
                <a:lnTo>
                  <a:pt x="3429" y="590"/>
                </a:lnTo>
                <a:lnTo>
                  <a:pt x="3439" y="585"/>
                </a:lnTo>
                <a:lnTo>
                  <a:pt x="3450" y="580"/>
                </a:lnTo>
                <a:lnTo>
                  <a:pt x="3461" y="576"/>
                </a:lnTo>
                <a:lnTo>
                  <a:pt x="3472" y="572"/>
                </a:lnTo>
                <a:lnTo>
                  <a:pt x="3483" y="568"/>
                </a:lnTo>
                <a:lnTo>
                  <a:pt x="3495" y="565"/>
                </a:lnTo>
                <a:lnTo>
                  <a:pt x="3507" y="563"/>
                </a:lnTo>
                <a:lnTo>
                  <a:pt x="3519" y="561"/>
                </a:lnTo>
                <a:lnTo>
                  <a:pt x="3531" y="559"/>
                </a:lnTo>
                <a:lnTo>
                  <a:pt x="3544" y="558"/>
                </a:lnTo>
                <a:lnTo>
                  <a:pt x="3557" y="557"/>
                </a:lnTo>
                <a:lnTo>
                  <a:pt x="3571" y="557"/>
                </a:lnTo>
                <a:lnTo>
                  <a:pt x="3589" y="557"/>
                </a:lnTo>
                <a:lnTo>
                  <a:pt x="3599" y="558"/>
                </a:lnTo>
                <a:lnTo>
                  <a:pt x="3609" y="559"/>
                </a:lnTo>
                <a:lnTo>
                  <a:pt x="3629" y="562"/>
                </a:lnTo>
                <a:lnTo>
                  <a:pt x="3652" y="566"/>
                </a:lnTo>
                <a:lnTo>
                  <a:pt x="3652" y="820"/>
                </a:lnTo>
                <a:close/>
                <a:moveTo>
                  <a:pt x="4253" y="1478"/>
                </a:moveTo>
                <a:lnTo>
                  <a:pt x="4253" y="1275"/>
                </a:lnTo>
                <a:lnTo>
                  <a:pt x="4238" y="1278"/>
                </a:lnTo>
                <a:lnTo>
                  <a:pt x="4224" y="1281"/>
                </a:lnTo>
                <a:lnTo>
                  <a:pt x="4211" y="1283"/>
                </a:lnTo>
                <a:lnTo>
                  <a:pt x="4199" y="1284"/>
                </a:lnTo>
                <a:lnTo>
                  <a:pt x="4174" y="1286"/>
                </a:lnTo>
                <a:lnTo>
                  <a:pt x="4147" y="1286"/>
                </a:lnTo>
                <a:lnTo>
                  <a:pt x="4125" y="1286"/>
                </a:lnTo>
                <a:lnTo>
                  <a:pt x="4116" y="1285"/>
                </a:lnTo>
                <a:lnTo>
                  <a:pt x="4106" y="1284"/>
                </a:lnTo>
                <a:lnTo>
                  <a:pt x="4089" y="1281"/>
                </a:lnTo>
                <a:lnTo>
                  <a:pt x="4081" y="1280"/>
                </a:lnTo>
                <a:lnTo>
                  <a:pt x="4074" y="1278"/>
                </a:lnTo>
                <a:lnTo>
                  <a:pt x="4066" y="1275"/>
                </a:lnTo>
                <a:lnTo>
                  <a:pt x="4060" y="1272"/>
                </a:lnTo>
                <a:lnTo>
                  <a:pt x="4053" y="1269"/>
                </a:lnTo>
                <a:lnTo>
                  <a:pt x="4047" y="1266"/>
                </a:lnTo>
                <a:lnTo>
                  <a:pt x="4042" y="1262"/>
                </a:lnTo>
                <a:lnTo>
                  <a:pt x="4036" y="1258"/>
                </a:lnTo>
                <a:lnTo>
                  <a:pt x="4031" y="1253"/>
                </a:lnTo>
                <a:lnTo>
                  <a:pt x="4027" y="1248"/>
                </a:lnTo>
                <a:lnTo>
                  <a:pt x="4022" y="1243"/>
                </a:lnTo>
                <a:lnTo>
                  <a:pt x="4019" y="1238"/>
                </a:lnTo>
                <a:lnTo>
                  <a:pt x="4012" y="1225"/>
                </a:lnTo>
                <a:lnTo>
                  <a:pt x="4009" y="1218"/>
                </a:lnTo>
                <a:lnTo>
                  <a:pt x="4006" y="1211"/>
                </a:lnTo>
                <a:lnTo>
                  <a:pt x="4004" y="1203"/>
                </a:lnTo>
                <a:lnTo>
                  <a:pt x="4001" y="1195"/>
                </a:lnTo>
                <a:lnTo>
                  <a:pt x="3998" y="1178"/>
                </a:lnTo>
                <a:lnTo>
                  <a:pt x="3997" y="1168"/>
                </a:lnTo>
                <a:lnTo>
                  <a:pt x="3996" y="1158"/>
                </a:lnTo>
                <a:lnTo>
                  <a:pt x="3994" y="1137"/>
                </a:lnTo>
                <a:lnTo>
                  <a:pt x="3994" y="1114"/>
                </a:lnTo>
                <a:lnTo>
                  <a:pt x="3994" y="775"/>
                </a:lnTo>
                <a:lnTo>
                  <a:pt x="4242" y="775"/>
                </a:lnTo>
                <a:lnTo>
                  <a:pt x="4242" y="574"/>
                </a:lnTo>
                <a:lnTo>
                  <a:pt x="3994" y="574"/>
                </a:lnTo>
                <a:lnTo>
                  <a:pt x="3994" y="280"/>
                </a:lnTo>
                <a:lnTo>
                  <a:pt x="3736" y="426"/>
                </a:lnTo>
                <a:lnTo>
                  <a:pt x="3736" y="1160"/>
                </a:lnTo>
                <a:lnTo>
                  <a:pt x="3736" y="1182"/>
                </a:lnTo>
                <a:lnTo>
                  <a:pt x="3737" y="1202"/>
                </a:lnTo>
                <a:lnTo>
                  <a:pt x="3739" y="1222"/>
                </a:lnTo>
                <a:lnTo>
                  <a:pt x="3741" y="1241"/>
                </a:lnTo>
                <a:lnTo>
                  <a:pt x="3742" y="1251"/>
                </a:lnTo>
                <a:lnTo>
                  <a:pt x="3744" y="1260"/>
                </a:lnTo>
                <a:lnTo>
                  <a:pt x="3747" y="1278"/>
                </a:lnTo>
                <a:lnTo>
                  <a:pt x="3751" y="1295"/>
                </a:lnTo>
                <a:lnTo>
                  <a:pt x="3756" y="1311"/>
                </a:lnTo>
                <a:lnTo>
                  <a:pt x="3762" y="1326"/>
                </a:lnTo>
                <a:lnTo>
                  <a:pt x="3768" y="1341"/>
                </a:lnTo>
                <a:lnTo>
                  <a:pt x="3775" y="1355"/>
                </a:lnTo>
                <a:lnTo>
                  <a:pt x="3782" y="1369"/>
                </a:lnTo>
                <a:lnTo>
                  <a:pt x="3790" y="1381"/>
                </a:lnTo>
                <a:lnTo>
                  <a:pt x="3799" y="1393"/>
                </a:lnTo>
                <a:lnTo>
                  <a:pt x="3804" y="1399"/>
                </a:lnTo>
                <a:lnTo>
                  <a:pt x="3809" y="1405"/>
                </a:lnTo>
                <a:lnTo>
                  <a:pt x="3814" y="1410"/>
                </a:lnTo>
                <a:lnTo>
                  <a:pt x="3819" y="1415"/>
                </a:lnTo>
                <a:lnTo>
                  <a:pt x="3830" y="1425"/>
                </a:lnTo>
                <a:lnTo>
                  <a:pt x="3842" y="1434"/>
                </a:lnTo>
                <a:lnTo>
                  <a:pt x="3854" y="1443"/>
                </a:lnTo>
                <a:lnTo>
                  <a:pt x="3867" y="1451"/>
                </a:lnTo>
                <a:lnTo>
                  <a:pt x="3881" y="1458"/>
                </a:lnTo>
                <a:lnTo>
                  <a:pt x="3896" y="1465"/>
                </a:lnTo>
                <a:lnTo>
                  <a:pt x="3911" y="1470"/>
                </a:lnTo>
                <a:lnTo>
                  <a:pt x="3919" y="1473"/>
                </a:lnTo>
                <a:lnTo>
                  <a:pt x="3927" y="1476"/>
                </a:lnTo>
                <a:lnTo>
                  <a:pt x="3944" y="1480"/>
                </a:lnTo>
                <a:lnTo>
                  <a:pt x="3961" y="1484"/>
                </a:lnTo>
                <a:lnTo>
                  <a:pt x="3979" y="1488"/>
                </a:lnTo>
                <a:lnTo>
                  <a:pt x="3998" y="1491"/>
                </a:lnTo>
                <a:lnTo>
                  <a:pt x="4018" y="1493"/>
                </a:lnTo>
                <a:lnTo>
                  <a:pt x="4038" y="1494"/>
                </a:lnTo>
                <a:lnTo>
                  <a:pt x="4060" y="1495"/>
                </a:lnTo>
                <a:lnTo>
                  <a:pt x="4082" y="1495"/>
                </a:lnTo>
                <a:lnTo>
                  <a:pt x="4104" y="1495"/>
                </a:lnTo>
                <a:lnTo>
                  <a:pt x="4125" y="1495"/>
                </a:lnTo>
                <a:lnTo>
                  <a:pt x="4146" y="1493"/>
                </a:lnTo>
                <a:lnTo>
                  <a:pt x="4167" y="1492"/>
                </a:lnTo>
                <a:lnTo>
                  <a:pt x="4187" y="1490"/>
                </a:lnTo>
                <a:lnTo>
                  <a:pt x="4208" y="1487"/>
                </a:lnTo>
                <a:lnTo>
                  <a:pt x="4230" y="1483"/>
                </a:lnTo>
                <a:lnTo>
                  <a:pt x="4253" y="1478"/>
                </a:lnTo>
                <a:close/>
                <a:moveTo>
                  <a:pt x="2979" y="1024"/>
                </a:moveTo>
                <a:lnTo>
                  <a:pt x="2978" y="1050"/>
                </a:lnTo>
                <a:lnTo>
                  <a:pt x="2976" y="1075"/>
                </a:lnTo>
                <a:lnTo>
                  <a:pt x="2974" y="1100"/>
                </a:lnTo>
                <a:lnTo>
                  <a:pt x="2970" y="1125"/>
                </a:lnTo>
                <a:lnTo>
                  <a:pt x="2966" y="1149"/>
                </a:lnTo>
                <a:lnTo>
                  <a:pt x="2960" y="1172"/>
                </a:lnTo>
                <a:lnTo>
                  <a:pt x="2954" y="1195"/>
                </a:lnTo>
                <a:lnTo>
                  <a:pt x="2950" y="1206"/>
                </a:lnTo>
                <a:lnTo>
                  <a:pt x="2946" y="1217"/>
                </a:lnTo>
                <a:lnTo>
                  <a:pt x="2938" y="1238"/>
                </a:lnTo>
                <a:lnTo>
                  <a:pt x="2928" y="1259"/>
                </a:lnTo>
                <a:lnTo>
                  <a:pt x="2918" y="1279"/>
                </a:lnTo>
                <a:lnTo>
                  <a:pt x="2907" y="1299"/>
                </a:lnTo>
                <a:lnTo>
                  <a:pt x="2896" y="1317"/>
                </a:lnTo>
                <a:lnTo>
                  <a:pt x="2883" y="1335"/>
                </a:lnTo>
                <a:lnTo>
                  <a:pt x="2876" y="1344"/>
                </a:lnTo>
                <a:lnTo>
                  <a:pt x="2870" y="1352"/>
                </a:lnTo>
                <a:lnTo>
                  <a:pt x="2863" y="1360"/>
                </a:lnTo>
                <a:lnTo>
                  <a:pt x="2855" y="1368"/>
                </a:lnTo>
                <a:lnTo>
                  <a:pt x="2848" y="1376"/>
                </a:lnTo>
                <a:lnTo>
                  <a:pt x="2840" y="1384"/>
                </a:lnTo>
                <a:lnTo>
                  <a:pt x="2833" y="1391"/>
                </a:lnTo>
                <a:lnTo>
                  <a:pt x="2825" y="1399"/>
                </a:lnTo>
                <a:lnTo>
                  <a:pt x="2817" y="1406"/>
                </a:lnTo>
                <a:lnTo>
                  <a:pt x="2808" y="1412"/>
                </a:lnTo>
                <a:lnTo>
                  <a:pt x="2791" y="1425"/>
                </a:lnTo>
                <a:lnTo>
                  <a:pt x="2783" y="1431"/>
                </a:lnTo>
                <a:lnTo>
                  <a:pt x="2774" y="1437"/>
                </a:lnTo>
                <a:lnTo>
                  <a:pt x="2755" y="1448"/>
                </a:lnTo>
                <a:lnTo>
                  <a:pt x="2746" y="1453"/>
                </a:lnTo>
                <a:lnTo>
                  <a:pt x="2736" y="1458"/>
                </a:lnTo>
                <a:lnTo>
                  <a:pt x="2716" y="1467"/>
                </a:lnTo>
                <a:lnTo>
                  <a:pt x="2696" y="1476"/>
                </a:lnTo>
                <a:lnTo>
                  <a:pt x="2686" y="1479"/>
                </a:lnTo>
                <a:lnTo>
                  <a:pt x="2675" y="1483"/>
                </a:lnTo>
                <a:lnTo>
                  <a:pt x="2665" y="1486"/>
                </a:lnTo>
                <a:lnTo>
                  <a:pt x="2654" y="1489"/>
                </a:lnTo>
                <a:lnTo>
                  <a:pt x="2632" y="1494"/>
                </a:lnTo>
                <a:lnTo>
                  <a:pt x="2609" y="1498"/>
                </a:lnTo>
                <a:lnTo>
                  <a:pt x="2598" y="1499"/>
                </a:lnTo>
                <a:lnTo>
                  <a:pt x="2586" y="1501"/>
                </a:lnTo>
                <a:lnTo>
                  <a:pt x="2563" y="1502"/>
                </a:lnTo>
                <a:lnTo>
                  <a:pt x="2551" y="1503"/>
                </a:lnTo>
                <a:lnTo>
                  <a:pt x="2539" y="1503"/>
                </a:lnTo>
                <a:lnTo>
                  <a:pt x="2513" y="1502"/>
                </a:lnTo>
                <a:lnTo>
                  <a:pt x="2501" y="1502"/>
                </a:lnTo>
                <a:lnTo>
                  <a:pt x="2488" y="1501"/>
                </a:lnTo>
                <a:lnTo>
                  <a:pt x="2475" y="1500"/>
                </a:lnTo>
                <a:lnTo>
                  <a:pt x="2462" y="1498"/>
                </a:lnTo>
                <a:lnTo>
                  <a:pt x="2439" y="1494"/>
                </a:lnTo>
                <a:lnTo>
                  <a:pt x="2415" y="1489"/>
                </a:lnTo>
                <a:lnTo>
                  <a:pt x="2393" y="1484"/>
                </a:lnTo>
                <a:lnTo>
                  <a:pt x="2382" y="1480"/>
                </a:lnTo>
                <a:lnTo>
                  <a:pt x="2371" y="1477"/>
                </a:lnTo>
                <a:lnTo>
                  <a:pt x="2350" y="1469"/>
                </a:lnTo>
                <a:lnTo>
                  <a:pt x="2329" y="1460"/>
                </a:lnTo>
                <a:lnTo>
                  <a:pt x="2319" y="1455"/>
                </a:lnTo>
                <a:lnTo>
                  <a:pt x="2309" y="1450"/>
                </a:lnTo>
                <a:lnTo>
                  <a:pt x="2290" y="1440"/>
                </a:lnTo>
                <a:lnTo>
                  <a:pt x="2272" y="1428"/>
                </a:lnTo>
                <a:lnTo>
                  <a:pt x="2254" y="1415"/>
                </a:lnTo>
                <a:lnTo>
                  <a:pt x="2246" y="1409"/>
                </a:lnTo>
                <a:lnTo>
                  <a:pt x="2237" y="1402"/>
                </a:lnTo>
                <a:lnTo>
                  <a:pt x="2221" y="1388"/>
                </a:lnTo>
                <a:lnTo>
                  <a:pt x="2206" y="1372"/>
                </a:lnTo>
                <a:lnTo>
                  <a:pt x="2199" y="1364"/>
                </a:lnTo>
                <a:lnTo>
                  <a:pt x="2192" y="1356"/>
                </a:lnTo>
                <a:lnTo>
                  <a:pt x="2185" y="1348"/>
                </a:lnTo>
                <a:lnTo>
                  <a:pt x="2178" y="1339"/>
                </a:lnTo>
                <a:lnTo>
                  <a:pt x="2172" y="1330"/>
                </a:lnTo>
                <a:lnTo>
                  <a:pt x="2166" y="1321"/>
                </a:lnTo>
                <a:lnTo>
                  <a:pt x="2154" y="1303"/>
                </a:lnTo>
                <a:lnTo>
                  <a:pt x="2143" y="1283"/>
                </a:lnTo>
                <a:lnTo>
                  <a:pt x="2138" y="1273"/>
                </a:lnTo>
                <a:lnTo>
                  <a:pt x="2133" y="1263"/>
                </a:lnTo>
                <a:lnTo>
                  <a:pt x="2124" y="1242"/>
                </a:lnTo>
                <a:lnTo>
                  <a:pt x="2115" y="1220"/>
                </a:lnTo>
                <a:lnTo>
                  <a:pt x="2108" y="1197"/>
                </a:lnTo>
                <a:lnTo>
                  <a:pt x="2101" y="1174"/>
                </a:lnTo>
                <a:lnTo>
                  <a:pt x="2096" y="1150"/>
                </a:lnTo>
                <a:lnTo>
                  <a:pt x="2094" y="1138"/>
                </a:lnTo>
                <a:lnTo>
                  <a:pt x="2092" y="1125"/>
                </a:lnTo>
                <a:lnTo>
                  <a:pt x="2088" y="1100"/>
                </a:lnTo>
                <a:lnTo>
                  <a:pt x="2085" y="1074"/>
                </a:lnTo>
                <a:lnTo>
                  <a:pt x="2085" y="1061"/>
                </a:lnTo>
                <a:lnTo>
                  <a:pt x="2084" y="1047"/>
                </a:lnTo>
                <a:lnTo>
                  <a:pt x="2083" y="1020"/>
                </a:lnTo>
                <a:lnTo>
                  <a:pt x="2084" y="995"/>
                </a:lnTo>
                <a:lnTo>
                  <a:pt x="2085" y="983"/>
                </a:lnTo>
                <a:lnTo>
                  <a:pt x="2085" y="970"/>
                </a:lnTo>
                <a:lnTo>
                  <a:pt x="2088" y="946"/>
                </a:lnTo>
                <a:lnTo>
                  <a:pt x="2092" y="922"/>
                </a:lnTo>
                <a:lnTo>
                  <a:pt x="2096" y="899"/>
                </a:lnTo>
                <a:lnTo>
                  <a:pt x="2102" y="876"/>
                </a:lnTo>
                <a:lnTo>
                  <a:pt x="2108" y="854"/>
                </a:lnTo>
                <a:lnTo>
                  <a:pt x="2116" y="832"/>
                </a:lnTo>
                <a:lnTo>
                  <a:pt x="2124" y="811"/>
                </a:lnTo>
                <a:lnTo>
                  <a:pt x="2133" y="791"/>
                </a:lnTo>
                <a:lnTo>
                  <a:pt x="2138" y="781"/>
                </a:lnTo>
                <a:lnTo>
                  <a:pt x="2144" y="770"/>
                </a:lnTo>
                <a:lnTo>
                  <a:pt x="2155" y="751"/>
                </a:lnTo>
                <a:lnTo>
                  <a:pt x="2160" y="742"/>
                </a:lnTo>
                <a:lnTo>
                  <a:pt x="2166" y="732"/>
                </a:lnTo>
                <a:lnTo>
                  <a:pt x="2173" y="723"/>
                </a:lnTo>
                <a:lnTo>
                  <a:pt x="2179" y="715"/>
                </a:lnTo>
                <a:lnTo>
                  <a:pt x="2193" y="698"/>
                </a:lnTo>
                <a:lnTo>
                  <a:pt x="2207" y="681"/>
                </a:lnTo>
                <a:lnTo>
                  <a:pt x="2222" y="666"/>
                </a:lnTo>
                <a:lnTo>
                  <a:pt x="2238" y="651"/>
                </a:lnTo>
                <a:lnTo>
                  <a:pt x="2255" y="637"/>
                </a:lnTo>
                <a:lnTo>
                  <a:pt x="2272" y="624"/>
                </a:lnTo>
                <a:lnTo>
                  <a:pt x="2290" y="612"/>
                </a:lnTo>
                <a:lnTo>
                  <a:pt x="2309" y="601"/>
                </a:lnTo>
                <a:lnTo>
                  <a:pt x="2329" y="591"/>
                </a:lnTo>
                <a:lnTo>
                  <a:pt x="2349" y="582"/>
                </a:lnTo>
                <a:lnTo>
                  <a:pt x="2359" y="577"/>
                </a:lnTo>
                <a:lnTo>
                  <a:pt x="2370" y="573"/>
                </a:lnTo>
                <a:lnTo>
                  <a:pt x="2391" y="566"/>
                </a:lnTo>
                <a:lnTo>
                  <a:pt x="2413" y="560"/>
                </a:lnTo>
                <a:lnTo>
                  <a:pt x="2436" y="555"/>
                </a:lnTo>
                <a:lnTo>
                  <a:pt x="2447" y="553"/>
                </a:lnTo>
                <a:lnTo>
                  <a:pt x="2459" y="551"/>
                </a:lnTo>
                <a:lnTo>
                  <a:pt x="2471" y="549"/>
                </a:lnTo>
                <a:lnTo>
                  <a:pt x="2483" y="548"/>
                </a:lnTo>
                <a:lnTo>
                  <a:pt x="2508" y="546"/>
                </a:lnTo>
                <a:lnTo>
                  <a:pt x="2521" y="546"/>
                </a:lnTo>
                <a:lnTo>
                  <a:pt x="2533" y="545"/>
                </a:lnTo>
                <a:lnTo>
                  <a:pt x="2559" y="546"/>
                </a:lnTo>
                <a:lnTo>
                  <a:pt x="2585" y="548"/>
                </a:lnTo>
                <a:lnTo>
                  <a:pt x="2610" y="551"/>
                </a:lnTo>
                <a:lnTo>
                  <a:pt x="2634" y="554"/>
                </a:lnTo>
                <a:lnTo>
                  <a:pt x="2657" y="559"/>
                </a:lnTo>
                <a:lnTo>
                  <a:pt x="2679" y="566"/>
                </a:lnTo>
                <a:lnTo>
                  <a:pt x="2701" y="573"/>
                </a:lnTo>
                <a:lnTo>
                  <a:pt x="2722" y="581"/>
                </a:lnTo>
                <a:lnTo>
                  <a:pt x="2742" y="590"/>
                </a:lnTo>
                <a:lnTo>
                  <a:pt x="2762" y="600"/>
                </a:lnTo>
                <a:lnTo>
                  <a:pt x="2780" y="611"/>
                </a:lnTo>
                <a:lnTo>
                  <a:pt x="2798" y="623"/>
                </a:lnTo>
                <a:lnTo>
                  <a:pt x="2815" y="636"/>
                </a:lnTo>
                <a:lnTo>
                  <a:pt x="2832" y="650"/>
                </a:lnTo>
                <a:lnTo>
                  <a:pt x="2847" y="664"/>
                </a:lnTo>
                <a:lnTo>
                  <a:pt x="2862" y="680"/>
                </a:lnTo>
                <a:lnTo>
                  <a:pt x="2876" y="696"/>
                </a:lnTo>
                <a:lnTo>
                  <a:pt x="2889" y="713"/>
                </a:lnTo>
                <a:lnTo>
                  <a:pt x="2901" y="731"/>
                </a:lnTo>
                <a:lnTo>
                  <a:pt x="2907" y="740"/>
                </a:lnTo>
                <a:lnTo>
                  <a:pt x="2912" y="749"/>
                </a:lnTo>
                <a:lnTo>
                  <a:pt x="2917" y="759"/>
                </a:lnTo>
                <a:lnTo>
                  <a:pt x="2923" y="769"/>
                </a:lnTo>
                <a:lnTo>
                  <a:pt x="2932" y="790"/>
                </a:lnTo>
                <a:lnTo>
                  <a:pt x="2941" y="810"/>
                </a:lnTo>
                <a:lnTo>
                  <a:pt x="2949" y="832"/>
                </a:lnTo>
                <a:lnTo>
                  <a:pt x="2956" y="854"/>
                </a:lnTo>
                <a:lnTo>
                  <a:pt x="2962" y="876"/>
                </a:lnTo>
                <a:lnTo>
                  <a:pt x="2967" y="899"/>
                </a:lnTo>
                <a:lnTo>
                  <a:pt x="2971" y="923"/>
                </a:lnTo>
                <a:lnTo>
                  <a:pt x="2974" y="948"/>
                </a:lnTo>
                <a:lnTo>
                  <a:pt x="2977" y="972"/>
                </a:lnTo>
                <a:lnTo>
                  <a:pt x="2978" y="998"/>
                </a:lnTo>
                <a:lnTo>
                  <a:pt x="2979" y="1024"/>
                </a:lnTo>
                <a:close/>
                <a:moveTo>
                  <a:pt x="2718" y="1022"/>
                </a:moveTo>
                <a:lnTo>
                  <a:pt x="2718" y="1007"/>
                </a:lnTo>
                <a:lnTo>
                  <a:pt x="2717" y="992"/>
                </a:lnTo>
                <a:lnTo>
                  <a:pt x="2716" y="978"/>
                </a:lnTo>
                <a:lnTo>
                  <a:pt x="2715" y="964"/>
                </a:lnTo>
                <a:lnTo>
                  <a:pt x="2713" y="951"/>
                </a:lnTo>
                <a:lnTo>
                  <a:pt x="2711" y="938"/>
                </a:lnTo>
                <a:lnTo>
                  <a:pt x="2709" y="926"/>
                </a:lnTo>
                <a:lnTo>
                  <a:pt x="2706" y="913"/>
                </a:lnTo>
                <a:lnTo>
                  <a:pt x="2702" y="902"/>
                </a:lnTo>
                <a:lnTo>
                  <a:pt x="2699" y="890"/>
                </a:lnTo>
                <a:lnTo>
                  <a:pt x="2695" y="880"/>
                </a:lnTo>
                <a:lnTo>
                  <a:pt x="2690" y="869"/>
                </a:lnTo>
                <a:lnTo>
                  <a:pt x="2685" y="859"/>
                </a:lnTo>
                <a:lnTo>
                  <a:pt x="2680" y="850"/>
                </a:lnTo>
                <a:lnTo>
                  <a:pt x="2675" y="841"/>
                </a:lnTo>
                <a:lnTo>
                  <a:pt x="2669" y="832"/>
                </a:lnTo>
                <a:lnTo>
                  <a:pt x="2663" y="824"/>
                </a:lnTo>
                <a:lnTo>
                  <a:pt x="2657" y="816"/>
                </a:lnTo>
                <a:lnTo>
                  <a:pt x="2650" y="809"/>
                </a:lnTo>
                <a:lnTo>
                  <a:pt x="2643" y="802"/>
                </a:lnTo>
                <a:lnTo>
                  <a:pt x="2635" y="796"/>
                </a:lnTo>
                <a:lnTo>
                  <a:pt x="2627" y="791"/>
                </a:lnTo>
                <a:lnTo>
                  <a:pt x="2619" y="785"/>
                </a:lnTo>
                <a:lnTo>
                  <a:pt x="2611" y="781"/>
                </a:lnTo>
                <a:lnTo>
                  <a:pt x="2602" y="776"/>
                </a:lnTo>
                <a:lnTo>
                  <a:pt x="2593" y="772"/>
                </a:lnTo>
                <a:lnTo>
                  <a:pt x="2584" y="769"/>
                </a:lnTo>
                <a:lnTo>
                  <a:pt x="2574" y="767"/>
                </a:lnTo>
                <a:lnTo>
                  <a:pt x="2565" y="765"/>
                </a:lnTo>
                <a:lnTo>
                  <a:pt x="2554" y="763"/>
                </a:lnTo>
                <a:lnTo>
                  <a:pt x="2544" y="762"/>
                </a:lnTo>
                <a:lnTo>
                  <a:pt x="2533" y="762"/>
                </a:lnTo>
                <a:lnTo>
                  <a:pt x="2523" y="762"/>
                </a:lnTo>
                <a:lnTo>
                  <a:pt x="2512" y="763"/>
                </a:lnTo>
                <a:lnTo>
                  <a:pt x="2502" y="765"/>
                </a:lnTo>
                <a:lnTo>
                  <a:pt x="2492" y="767"/>
                </a:lnTo>
                <a:lnTo>
                  <a:pt x="2481" y="769"/>
                </a:lnTo>
                <a:lnTo>
                  <a:pt x="2472" y="772"/>
                </a:lnTo>
                <a:lnTo>
                  <a:pt x="2463" y="776"/>
                </a:lnTo>
                <a:lnTo>
                  <a:pt x="2454" y="781"/>
                </a:lnTo>
                <a:lnTo>
                  <a:pt x="2446" y="786"/>
                </a:lnTo>
                <a:lnTo>
                  <a:pt x="2437" y="791"/>
                </a:lnTo>
                <a:lnTo>
                  <a:pt x="2429" y="797"/>
                </a:lnTo>
                <a:lnTo>
                  <a:pt x="2422" y="803"/>
                </a:lnTo>
                <a:lnTo>
                  <a:pt x="2415" y="810"/>
                </a:lnTo>
                <a:lnTo>
                  <a:pt x="2408" y="817"/>
                </a:lnTo>
                <a:lnTo>
                  <a:pt x="2401" y="825"/>
                </a:lnTo>
                <a:lnTo>
                  <a:pt x="2395" y="833"/>
                </a:lnTo>
                <a:lnTo>
                  <a:pt x="2389" y="842"/>
                </a:lnTo>
                <a:lnTo>
                  <a:pt x="2383" y="851"/>
                </a:lnTo>
                <a:lnTo>
                  <a:pt x="2378" y="860"/>
                </a:lnTo>
                <a:lnTo>
                  <a:pt x="2373" y="870"/>
                </a:lnTo>
                <a:lnTo>
                  <a:pt x="2368" y="881"/>
                </a:lnTo>
                <a:lnTo>
                  <a:pt x="2364" y="891"/>
                </a:lnTo>
                <a:lnTo>
                  <a:pt x="2360" y="903"/>
                </a:lnTo>
                <a:lnTo>
                  <a:pt x="2357" y="914"/>
                </a:lnTo>
                <a:lnTo>
                  <a:pt x="2354" y="926"/>
                </a:lnTo>
                <a:lnTo>
                  <a:pt x="2351" y="939"/>
                </a:lnTo>
                <a:lnTo>
                  <a:pt x="2349" y="951"/>
                </a:lnTo>
                <a:lnTo>
                  <a:pt x="2347" y="964"/>
                </a:lnTo>
                <a:lnTo>
                  <a:pt x="2346" y="978"/>
                </a:lnTo>
                <a:lnTo>
                  <a:pt x="2344" y="991"/>
                </a:lnTo>
                <a:lnTo>
                  <a:pt x="2344" y="1005"/>
                </a:lnTo>
                <a:lnTo>
                  <a:pt x="2344" y="1020"/>
                </a:lnTo>
                <a:lnTo>
                  <a:pt x="2344" y="1034"/>
                </a:lnTo>
                <a:lnTo>
                  <a:pt x="2344" y="1049"/>
                </a:lnTo>
                <a:lnTo>
                  <a:pt x="2346" y="1063"/>
                </a:lnTo>
                <a:lnTo>
                  <a:pt x="2347" y="1076"/>
                </a:lnTo>
                <a:lnTo>
                  <a:pt x="2349" y="1090"/>
                </a:lnTo>
                <a:lnTo>
                  <a:pt x="2351" y="1103"/>
                </a:lnTo>
                <a:lnTo>
                  <a:pt x="2357" y="1127"/>
                </a:lnTo>
                <a:lnTo>
                  <a:pt x="2361" y="1139"/>
                </a:lnTo>
                <a:lnTo>
                  <a:pt x="2365" y="1150"/>
                </a:lnTo>
                <a:lnTo>
                  <a:pt x="2369" y="1162"/>
                </a:lnTo>
                <a:lnTo>
                  <a:pt x="2374" y="1172"/>
                </a:lnTo>
                <a:lnTo>
                  <a:pt x="2379" y="1182"/>
                </a:lnTo>
                <a:lnTo>
                  <a:pt x="2384" y="1192"/>
                </a:lnTo>
                <a:lnTo>
                  <a:pt x="2396" y="1210"/>
                </a:lnTo>
                <a:lnTo>
                  <a:pt x="2402" y="1219"/>
                </a:lnTo>
                <a:lnTo>
                  <a:pt x="2409" y="1227"/>
                </a:lnTo>
                <a:lnTo>
                  <a:pt x="2416" y="1234"/>
                </a:lnTo>
                <a:lnTo>
                  <a:pt x="2424" y="1241"/>
                </a:lnTo>
                <a:lnTo>
                  <a:pt x="2431" y="1247"/>
                </a:lnTo>
                <a:lnTo>
                  <a:pt x="2439" y="1253"/>
                </a:lnTo>
                <a:lnTo>
                  <a:pt x="2448" y="1259"/>
                </a:lnTo>
                <a:lnTo>
                  <a:pt x="2457" y="1264"/>
                </a:lnTo>
                <a:lnTo>
                  <a:pt x="2465" y="1268"/>
                </a:lnTo>
                <a:lnTo>
                  <a:pt x="2475" y="1272"/>
                </a:lnTo>
                <a:lnTo>
                  <a:pt x="2484" y="1275"/>
                </a:lnTo>
                <a:lnTo>
                  <a:pt x="2495" y="1278"/>
                </a:lnTo>
                <a:lnTo>
                  <a:pt x="2505" y="1280"/>
                </a:lnTo>
                <a:lnTo>
                  <a:pt x="2516" y="1281"/>
                </a:lnTo>
                <a:lnTo>
                  <a:pt x="2526" y="1282"/>
                </a:lnTo>
                <a:lnTo>
                  <a:pt x="2537" y="1283"/>
                </a:lnTo>
                <a:lnTo>
                  <a:pt x="2548" y="1282"/>
                </a:lnTo>
                <a:lnTo>
                  <a:pt x="2558" y="1281"/>
                </a:lnTo>
                <a:lnTo>
                  <a:pt x="2568" y="1280"/>
                </a:lnTo>
                <a:lnTo>
                  <a:pt x="2578" y="1278"/>
                </a:lnTo>
                <a:lnTo>
                  <a:pt x="2587" y="1275"/>
                </a:lnTo>
                <a:lnTo>
                  <a:pt x="2596" y="1272"/>
                </a:lnTo>
                <a:lnTo>
                  <a:pt x="2600" y="1271"/>
                </a:lnTo>
                <a:lnTo>
                  <a:pt x="2605" y="1269"/>
                </a:lnTo>
                <a:lnTo>
                  <a:pt x="2613" y="1264"/>
                </a:lnTo>
                <a:lnTo>
                  <a:pt x="2622" y="1260"/>
                </a:lnTo>
                <a:lnTo>
                  <a:pt x="2630" y="1255"/>
                </a:lnTo>
                <a:lnTo>
                  <a:pt x="2637" y="1249"/>
                </a:lnTo>
                <a:lnTo>
                  <a:pt x="2644" y="1243"/>
                </a:lnTo>
                <a:lnTo>
                  <a:pt x="2651" y="1236"/>
                </a:lnTo>
                <a:lnTo>
                  <a:pt x="2658" y="1229"/>
                </a:lnTo>
                <a:lnTo>
                  <a:pt x="2664" y="1221"/>
                </a:lnTo>
                <a:lnTo>
                  <a:pt x="2670" y="1213"/>
                </a:lnTo>
                <a:lnTo>
                  <a:pt x="2676" y="1204"/>
                </a:lnTo>
                <a:lnTo>
                  <a:pt x="2681" y="1195"/>
                </a:lnTo>
                <a:lnTo>
                  <a:pt x="2686" y="1185"/>
                </a:lnTo>
                <a:lnTo>
                  <a:pt x="2691" y="1175"/>
                </a:lnTo>
                <a:lnTo>
                  <a:pt x="2695" y="1165"/>
                </a:lnTo>
                <a:lnTo>
                  <a:pt x="2699" y="1154"/>
                </a:lnTo>
                <a:lnTo>
                  <a:pt x="2703" y="1142"/>
                </a:lnTo>
                <a:lnTo>
                  <a:pt x="2706" y="1131"/>
                </a:lnTo>
                <a:lnTo>
                  <a:pt x="2709" y="1118"/>
                </a:lnTo>
                <a:lnTo>
                  <a:pt x="2711" y="1106"/>
                </a:lnTo>
                <a:lnTo>
                  <a:pt x="2713" y="1093"/>
                </a:lnTo>
                <a:lnTo>
                  <a:pt x="2715" y="1079"/>
                </a:lnTo>
                <a:lnTo>
                  <a:pt x="2717" y="1065"/>
                </a:lnTo>
                <a:lnTo>
                  <a:pt x="2718" y="1051"/>
                </a:lnTo>
                <a:lnTo>
                  <a:pt x="2718" y="1037"/>
                </a:lnTo>
                <a:lnTo>
                  <a:pt x="2718" y="1022"/>
                </a:lnTo>
                <a:close/>
                <a:moveTo>
                  <a:pt x="5165" y="1037"/>
                </a:moveTo>
                <a:lnTo>
                  <a:pt x="5165" y="570"/>
                </a:lnTo>
                <a:lnTo>
                  <a:pt x="4907" y="570"/>
                </a:lnTo>
                <a:lnTo>
                  <a:pt x="4907" y="1037"/>
                </a:lnTo>
                <a:lnTo>
                  <a:pt x="4906" y="1070"/>
                </a:lnTo>
                <a:lnTo>
                  <a:pt x="4905" y="1100"/>
                </a:lnTo>
                <a:lnTo>
                  <a:pt x="4904" y="1114"/>
                </a:lnTo>
                <a:lnTo>
                  <a:pt x="4903" y="1127"/>
                </a:lnTo>
                <a:lnTo>
                  <a:pt x="4900" y="1152"/>
                </a:lnTo>
                <a:lnTo>
                  <a:pt x="4895" y="1174"/>
                </a:lnTo>
                <a:lnTo>
                  <a:pt x="4890" y="1194"/>
                </a:lnTo>
                <a:lnTo>
                  <a:pt x="4887" y="1203"/>
                </a:lnTo>
                <a:lnTo>
                  <a:pt x="4883" y="1211"/>
                </a:lnTo>
                <a:lnTo>
                  <a:pt x="4879" y="1219"/>
                </a:lnTo>
                <a:lnTo>
                  <a:pt x="4875" y="1226"/>
                </a:lnTo>
                <a:lnTo>
                  <a:pt x="4866" y="1240"/>
                </a:lnTo>
                <a:lnTo>
                  <a:pt x="4860" y="1245"/>
                </a:lnTo>
                <a:lnTo>
                  <a:pt x="4855" y="1251"/>
                </a:lnTo>
                <a:lnTo>
                  <a:pt x="4849" y="1255"/>
                </a:lnTo>
                <a:lnTo>
                  <a:pt x="4843" y="1260"/>
                </a:lnTo>
                <a:lnTo>
                  <a:pt x="4836" y="1264"/>
                </a:lnTo>
                <a:lnTo>
                  <a:pt x="4829" y="1267"/>
                </a:lnTo>
                <a:lnTo>
                  <a:pt x="4821" y="1270"/>
                </a:lnTo>
                <a:lnTo>
                  <a:pt x="4813" y="1273"/>
                </a:lnTo>
                <a:lnTo>
                  <a:pt x="4805" y="1275"/>
                </a:lnTo>
                <a:lnTo>
                  <a:pt x="4796" y="1276"/>
                </a:lnTo>
                <a:lnTo>
                  <a:pt x="4787" y="1278"/>
                </a:lnTo>
                <a:lnTo>
                  <a:pt x="4777" y="1279"/>
                </a:lnTo>
                <a:lnTo>
                  <a:pt x="4767" y="1279"/>
                </a:lnTo>
                <a:lnTo>
                  <a:pt x="4757" y="1279"/>
                </a:lnTo>
                <a:lnTo>
                  <a:pt x="4746" y="1279"/>
                </a:lnTo>
                <a:lnTo>
                  <a:pt x="4735" y="1279"/>
                </a:lnTo>
                <a:lnTo>
                  <a:pt x="4725" y="1278"/>
                </a:lnTo>
                <a:lnTo>
                  <a:pt x="4715" y="1276"/>
                </a:lnTo>
                <a:lnTo>
                  <a:pt x="4706" y="1275"/>
                </a:lnTo>
                <a:lnTo>
                  <a:pt x="4697" y="1273"/>
                </a:lnTo>
                <a:lnTo>
                  <a:pt x="4689" y="1270"/>
                </a:lnTo>
                <a:lnTo>
                  <a:pt x="4681" y="1267"/>
                </a:lnTo>
                <a:lnTo>
                  <a:pt x="4674" y="1264"/>
                </a:lnTo>
                <a:lnTo>
                  <a:pt x="4667" y="1260"/>
                </a:lnTo>
                <a:lnTo>
                  <a:pt x="4660" y="1256"/>
                </a:lnTo>
                <a:lnTo>
                  <a:pt x="4654" y="1251"/>
                </a:lnTo>
                <a:lnTo>
                  <a:pt x="4648" y="1246"/>
                </a:lnTo>
                <a:lnTo>
                  <a:pt x="4642" y="1241"/>
                </a:lnTo>
                <a:lnTo>
                  <a:pt x="4637" y="1235"/>
                </a:lnTo>
                <a:lnTo>
                  <a:pt x="4632" y="1228"/>
                </a:lnTo>
                <a:lnTo>
                  <a:pt x="4627" y="1221"/>
                </a:lnTo>
                <a:lnTo>
                  <a:pt x="4623" y="1214"/>
                </a:lnTo>
                <a:lnTo>
                  <a:pt x="4619" y="1206"/>
                </a:lnTo>
                <a:lnTo>
                  <a:pt x="4616" y="1197"/>
                </a:lnTo>
                <a:lnTo>
                  <a:pt x="4613" y="1188"/>
                </a:lnTo>
                <a:lnTo>
                  <a:pt x="4610" y="1179"/>
                </a:lnTo>
                <a:lnTo>
                  <a:pt x="4607" y="1169"/>
                </a:lnTo>
                <a:lnTo>
                  <a:pt x="4605" y="1158"/>
                </a:lnTo>
                <a:lnTo>
                  <a:pt x="4603" y="1147"/>
                </a:lnTo>
                <a:lnTo>
                  <a:pt x="4601" y="1135"/>
                </a:lnTo>
                <a:lnTo>
                  <a:pt x="4600" y="1123"/>
                </a:lnTo>
                <a:lnTo>
                  <a:pt x="4599" y="1110"/>
                </a:lnTo>
                <a:lnTo>
                  <a:pt x="4598" y="1096"/>
                </a:lnTo>
                <a:lnTo>
                  <a:pt x="4597" y="1082"/>
                </a:lnTo>
                <a:lnTo>
                  <a:pt x="4597" y="1052"/>
                </a:lnTo>
                <a:lnTo>
                  <a:pt x="4597" y="570"/>
                </a:lnTo>
                <a:lnTo>
                  <a:pt x="4338" y="570"/>
                </a:lnTo>
                <a:lnTo>
                  <a:pt x="4338" y="1048"/>
                </a:lnTo>
                <a:lnTo>
                  <a:pt x="4339" y="1067"/>
                </a:lnTo>
                <a:lnTo>
                  <a:pt x="4339" y="1084"/>
                </a:lnTo>
                <a:lnTo>
                  <a:pt x="4340" y="1118"/>
                </a:lnTo>
                <a:lnTo>
                  <a:pt x="4342" y="1149"/>
                </a:lnTo>
                <a:lnTo>
                  <a:pt x="4345" y="1178"/>
                </a:lnTo>
                <a:lnTo>
                  <a:pt x="4347" y="1192"/>
                </a:lnTo>
                <a:lnTo>
                  <a:pt x="4349" y="1205"/>
                </a:lnTo>
                <a:lnTo>
                  <a:pt x="4353" y="1230"/>
                </a:lnTo>
                <a:lnTo>
                  <a:pt x="4356" y="1242"/>
                </a:lnTo>
                <a:lnTo>
                  <a:pt x="4359" y="1254"/>
                </a:lnTo>
                <a:lnTo>
                  <a:pt x="4362" y="1265"/>
                </a:lnTo>
                <a:lnTo>
                  <a:pt x="4366" y="1275"/>
                </a:lnTo>
                <a:lnTo>
                  <a:pt x="4373" y="1296"/>
                </a:lnTo>
                <a:lnTo>
                  <a:pt x="4382" y="1315"/>
                </a:lnTo>
                <a:lnTo>
                  <a:pt x="4392" y="1333"/>
                </a:lnTo>
                <a:lnTo>
                  <a:pt x="4398" y="1341"/>
                </a:lnTo>
                <a:lnTo>
                  <a:pt x="4404" y="1350"/>
                </a:lnTo>
                <a:lnTo>
                  <a:pt x="4410" y="1358"/>
                </a:lnTo>
                <a:lnTo>
                  <a:pt x="4416" y="1366"/>
                </a:lnTo>
                <a:lnTo>
                  <a:pt x="4423" y="1373"/>
                </a:lnTo>
                <a:lnTo>
                  <a:pt x="4430" y="1381"/>
                </a:lnTo>
                <a:lnTo>
                  <a:pt x="4437" y="1388"/>
                </a:lnTo>
                <a:lnTo>
                  <a:pt x="4445" y="1396"/>
                </a:lnTo>
                <a:lnTo>
                  <a:pt x="4461" y="1410"/>
                </a:lnTo>
                <a:lnTo>
                  <a:pt x="4475" y="1421"/>
                </a:lnTo>
                <a:lnTo>
                  <a:pt x="4489" y="1431"/>
                </a:lnTo>
                <a:lnTo>
                  <a:pt x="4505" y="1440"/>
                </a:lnTo>
                <a:lnTo>
                  <a:pt x="4520" y="1449"/>
                </a:lnTo>
                <a:lnTo>
                  <a:pt x="4537" y="1457"/>
                </a:lnTo>
                <a:lnTo>
                  <a:pt x="4554" y="1464"/>
                </a:lnTo>
                <a:lnTo>
                  <a:pt x="4572" y="1471"/>
                </a:lnTo>
                <a:lnTo>
                  <a:pt x="4590" y="1477"/>
                </a:lnTo>
                <a:lnTo>
                  <a:pt x="4609" y="1482"/>
                </a:lnTo>
                <a:lnTo>
                  <a:pt x="4619" y="1484"/>
                </a:lnTo>
                <a:lnTo>
                  <a:pt x="4628" y="1486"/>
                </a:lnTo>
                <a:lnTo>
                  <a:pt x="4638" y="1489"/>
                </a:lnTo>
                <a:lnTo>
                  <a:pt x="4648" y="1490"/>
                </a:lnTo>
                <a:lnTo>
                  <a:pt x="4669" y="1494"/>
                </a:lnTo>
                <a:lnTo>
                  <a:pt x="4689" y="1496"/>
                </a:lnTo>
                <a:lnTo>
                  <a:pt x="4711" y="1498"/>
                </a:lnTo>
                <a:lnTo>
                  <a:pt x="4732" y="1499"/>
                </a:lnTo>
                <a:lnTo>
                  <a:pt x="4755" y="1499"/>
                </a:lnTo>
                <a:lnTo>
                  <a:pt x="4781" y="1499"/>
                </a:lnTo>
                <a:lnTo>
                  <a:pt x="4806" y="1497"/>
                </a:lnTo>
                <a:lnTo>
                  <a:pt x="4818" y="1496"/>
                </a:lnTo>
                <a:lnTo>
                  <a:pt x="4831" y="1494"/>
                </a:lnTo>
                <a:lnTo>
                  <a:pt x="4855" y="1491"/>
                </a:lnTo>
                <a:lnTo>
                  <a:pt x="4878" y="1486"/>
                </a:lnTo>
                <a:lnTo>
                  <a:pt x="4900" y="1480"/>
                </a:lnTo>
                <a:lnTo>
                  <a:pt x="4911" y="1477"/>
                </a:lnTo>
                <a:lnTo>
                  <a:pt x="4922" y="1474"/>
                </a:lnTo>
                <a:lnTo>
                  <a:pt x="4943" y="1466"/>
                </a:lnTo>
                <a:lnTo>
                  <a:pt x="4953" y="1462"/>
                </a:lnTo>
                <a:lnTo>
                  <a:pt x="4963" y="1457"/>
                </a:lnTo>
                <a:lnTo>
                  <a:pt x="4983" y="1448"/>
                </a:lnTo>
                <a:lnTo>
                  <a:pt x="5001" y="1437"/>
                </a:lnTo>
                <a:lnTo>
                  <a:pt x="5019" y="1426"/>
                </a:lnTo>
                <a:lnTo>
                  <a:pt x="5036" y="1413"/>
                </a:lnTo>
                <a:lnTo>
                  <a:pt x="5044" y="1407"/>
                </a:lnTo>
                <a:lnTo>
                  <a:pt x="5052" y="1400"/>
                </a:lnTo>
                <a:lnTo>
                  <a:pt x="5059" y="1393"/>
                </a:lnTo>
                <a:lnTo>
                  <a:pt x="5066" y="1386"/>
                </a:lnTo>
                <a:lnTo>
                  <a:pt x="5080" y="1370"/>
                </a:lnTo>
                <a:lnTo>
                  <a:pt x="5091" y="1357"/>
                </a:lnTo>
                <a:lnTo>
                  <a:pt x="5096" y="1350"/>
                </a:lnTo>
                <a:lnTo>
                  <a:pt x="5101" y="1344"/>
                </a:lnTo>
                <a:lnTo>
                  <a:pt x="5106" y="1336"/>
                </a:lnTo>
                <a:lnTo>
                  <a:pt x="5110" y="1329"/>
                </a:lnTo>
                <a:lnTo>
                  <a:pt x="5118" y="1314"/>
                </a:lnTo>
                <a:lnTo>
                  <a:pt x="5126" y="1298"/>
                </a:lnTo>
                <a:lnTo>
                  <a:pt x="5133" y="1280"/>
                </a:lnTo>
                <a:lnTo>
                  <a:pt x="5139" y="1262"/>
                </a:lnTo>
                <a:lnTo>
                  <a:pt x="5145" y="1243"/>
                </a:lnTo>
                <a:lnTo>
                  <a:pt x="5150" y="1222"/>
                </a:lnTo>
                <a:lnTo>
                  <a:pt x="5154" y="1200"/>
                </a:lnTo>
                <a:lnTo>
                  <a:pt x="5157" y="1177"/>
                </a:lnTo>
                <a:lnTo>
                  <a:pt x="5160" y="1152"/>
                </a:lnTo>
                <a:lnTo>
                  <a:pt x="5162" y="1126"/>
                </a:lnTo>
                <a:lnTo>
                  <a:pt x="5163" y="1112"/>
                </a:lnTo>
                <a:lnTo>
                  <a:pt x="5164" y="1098"/>
                </a:lnTo>
                <a:lnTo>
                  <a:pt x="5165" y="1068"/>
                </a:lnTo>
                <a:lnTo>
                  <a:pt x="5165" y="1037"/>
                </a:lnTo>
                <a:close/>
                <a:moveTo>
                  <a:pt x="6630" y="1478"/>
                </a:moveTo>
                <a:lnTo>
                  <a:pt x="6630" y="957"/>
                </a:lnTo>
                <a:lnTo>
                  <a:pt x="6629" y="905"/>
                </a:lnTo>
                <a:lnTo>
                  <a:pt x="6629" y="881"/>
                </a:lnTo>
                <a:lnTo>
                  <a:pt x="6628" y="859"/>
                </a:lnTo>
                <a:lnTo>
                  <a:pt x="6626" y="838"/>
                </a:lnTo>
                <a:lnTo>
                  <a:pt x="6625" y="819"/>
                </a:lnTo>
                <a:lnTo>
                  <a:pt x="6623" y="801"/>
                </a:lnTo>
                <a:lnTo>
                  <a:pt x="6620" y="784"/>
                </a:lnTo>
                <a:lnTo>
                  <a:pt x="6617" y="767"/>
                </a:lnTo>
                <a:lnTo>
                  <a:pt x="6614" y="752"/>
                </a:lnTo>
                <a:lnTo>
                  <a:pt x="6611" y="738"/>
                </a:lnTo>
                <a:lnTo>
                  <a:pt x="6607" y="725"/>
                </a:lnTo>
                <a:lnTo>
                  <a:pt x="6602" y="713"/>
                </a:lnTo>
                <a:lnTo>
                  <a:pt x="6597" y="701"/>
                </a:lnTo>
                <a:lnTo>
                  <a:pt x="6592" y="690"/>
                </a:lnTo>
                <a:lnTo>
                  <a:pt x="6586" y="680"/>
                </a:lnTo>
                <a:lnTo>
                  <a:pt x="6582" y="672"/>
                </a:lnTo>
                <a:lnTo>
                  <a:pt x="6577" y="665"/>
                </a:lnTo>
                <a:lnTo>
                  <a:pt x="6567" y="651"/>
                </a:lnTo>
                <a:lnTo>
                  <a:pt x="6561" y="645"/>
                </a:lnTo>
                <a:lnTo>
                  <a:pt x="6556" y="638"/>
                </a:lnTo>
                <a:lnTo>
                  <a:pt x="6543" y="626"/>
                </a:lnTo>
                <a:lnTo>
                  <a:pt x="6530" y="615"/>
                </a:lnTo>
                <a:lnTo>
                  <a:pt x="6523" y="609"/>
                </a:lnTo>
                <a:lnTo>
                  <a:pt x="6516" y="604"/>
                </a:lnTo>
                <a:lnTo>
                  <a:pt x="6501" y="594"/>
                </a:lnTo>
                <a:lnTo>
                  <a:pt x="6485" y="586"/>
                </a:lnTo>
                <a:lnTo>
                  <a:pt x="6477" y="582"/>
                </a:lnTo>
                <a:lnTo>
                  <a:pt x="6468" y="578"/>
                </a:lnTo>
                <a:lnTo>
                  <a:pt x="6451" y="571"/>
                </a:lnTo>
                <a:lnTo>
                  <a:pt x="6433" y="565"/>
                </a:lnTo>
                <a:lnTo>
                  <a:pt x="6414" y="560"/>
                </a:lnTo>
                <a:lnTo>
                  <a:pt x="6405" y="558"/>
                </a:lnTo>
                <a:lnTo>
                  <a:pt x="6395" y="556"/>
                </a:lnTo>
                <a:lnTo>
                  <a:pt x="6375" y="553"/>
                </a:lnTo>
                <a:lnTo>
                  <a:pt x="6355" y="552"/>
                </a:lnTo>
                <a:lnTo>
                  <a:pt x="6345" y="551"/>
                </a:lnTo>
                <a:lnTo>
                  <a:pt x="6335" y="551"/>
                </a:lnTo>
                <a:lnTo>
                  <a:pt x="6322" y="551"/>
                </a:lnTo>
                <a:lnTo>
                  <a:pt x="6310" y="552"/>
                </a:lnTo>
                <a:lnTo>
                  <a:pt x="6298" y="553"/>
                </a:lnTo>
                <a:lnTo>
                  <a:pt x="6286" y="554"/>
                </a:lnTo>
                <a:lnTo>
                  <a:pt x="6275" y="556"/>
                </a:lnTo>
                <a:lnTo>
                  <a:pt x="6264" y="558"/>
                </a:lnTo>
                <a:lnTo>
                  <a:pt x="6253" y="561"/>
                </a:lnTo>
                <a:lnTo>
                  <a:pt x="6242" y="564"/>
                </a:lnTo>
                <a:lnTo>
                  <a:pt x="6231" y="567"/>
                </a:lnTo>
                <a:lnTo>
                  <a:pt x="6221" y="571"/>
                </a:lnTo>
                <a:lnTo>
                  <a:pt x="6211" y="575"/>
                </a:lnTo>
                <a:lnTo>
                  <a:pt x="6201" y="580"/>
                </a:lnTo>
                <a:lnTo>
                  <a:pt x="6191" y="585"/>
                </a:lnTo>
                <a:lnTo>
                  <a:pt x="6181" y="590"/>
                </a:lnTo>
                <a:lnTo>
                  <a:pt x="6172" y="596"/>
                </a:lnTo>
                <a:lnTo>
                  <a:pt x="6163" y="602"/>
                </a:lnTo>
                <a:lnTo>
                  <a:pt x="6154" y="609"/>
                </a:lnTo>
                <a:lnTo>
                  <a:pt x="6146" y="616"/>
                </a:lnTo>
                <a:lnTo>
                  <a:pt x="6137" y="624"/>
                </a:lnTo>
                <a:lnTo>
                  <a:pt x="6129" y="632"/>
                </a:lnTo>
                <a:lnTo>
                  <a:pt x="6121" y="640"/>
                </a:lnTo>
                <a:lnTo>
                  <a:pt x="6113" y="649"/>
                </a:lnTo>
                <a:lnTo>
                  <a:pt x="6105" y="658"/>
                </a:lnTo>
                <a:lnTo>
                  <a:pt x="6098" y="668"/>
                </a:lnTo>
                <a:lnTo>
                  <a:pt x="6091" y="678"/>
                </a:lnTo>
                <a:lnTo>
                  <a:pt x="6084" y="688"/>
                </a:lnTo>
                <a:lnTo>
                  <a:pt x="6077" y="699"/>
                </a:lnTo>
                <a:lnTo>
                  <a:pt x="6070" y="711"/>
                </a:lnTo>
                <a:lnTo>
                  <a:pt x="6064" y="723"/>
                </a:lnTo>
                <a:lnTo>
                  <a:pt x="6057" y="735"/>
                </a:lnTo>
                <a:lnTo>
                  <a:pt x="6051" y="748"/>
                </a:lnTo>
                <a:lnTo>
                  <a:pt x="6045" y="761"/>
                </a:lnTo>
                <a:lnTo>
                  <a:pt x="6039" y="736"/>
                </a:lnTo>
                <a:lnTo>
                  <a:pt x="6035" y="724"/>
                </a:lnTo>
                <a:lnTo>
                  <a:pt x="6031" y="712"/>
                </a:lnTo>
                <a:lnTo>
                  <a:pt x="6022" y="690"/>
                </a:lnTo>
                <a:lnTo>
                  <a:pt x="6017" y="679"/>
                </a:lnTo>
                <a:lnTo>
                  <a:pt x="6012" y="669"/>
                </a:lnTo>
                <a:lnTo>
                  <a:pt x="6001" y="650"/>
                </a:lnTo>
                <a:lnTo>
                  <a:pt x="5995" y="642"/>
                </a:lnTo>
                <a:lnTo>
                  <a:pt x="5989" y="633"/>
                </a:lnTo>
                <a:lnTo>
                  <a:pt x="5982" y="625"/>
                </a:lnTo>
                <a:lnTo>
                  <a:pt x="5975" y="618"/>
                </a:lnTo>
                <a:lnTo>
                  <a:pt x="5968" y="610"/>
                </a:lnTo>
                <a:lnTo>
                  <a:pt x="5961" y="604"/>
                </a:lnTo>
                <a:lnTo>
                  <a:pt x="5953" y="597"/>
                </a:lnTo>
                <a:lnTo>
                  <a:pt x="5945" y="591"/>
                </a:lnTo>
                <a:lnTo>
                  <a:pt x="5937" y="586"/>
                </a:lnTo>
                <a:lnTo>
                  <a:pt x="5928" y="581"/>
                </a:lnTo>
                <a:lnTo>
                  <a:pt x="5919" y="576"/>
                </a:lnTo>
                <a:lnTo>
                  <a:pt x="5910" y="572"/>
                </a:lnTo>
                <a:lnTo>
                  <a:pt x="5900" y="568"/>
                </a:lnTo>
                <a:lnTo>
                  <a:pt x="5890" y="564"/>
                </a:lnTo>
                <a:lnTo>
                  <a:pt x="5880" y="561"/>
                </a:lnTo>
                <a:lnTo>
                  <a:pt x="5870" y="558"/>
                </a:lnTo>
                <a:lnTo>
                  <a:pt x="5859" y="556"/>
                </a:lnTo>
                <a:lnTo>
                  <a:pt x="5848" y="554"/>
                </a:lnTo>
                <a:lnTo>
                  <a:pt x="5837" y="553"/>
                </a:lnTo>
                <a:lnTo>
                  <a:pt x="5825" y="552"/>
                </a:lnTo>
                <a:lnTo>
                  <a:pt x="5813" y="551"/>
                </a:lnTo>
                <a:lnTo>
                  <a:pt x="5801" y="551"/>
                </a:lnTo>
                <a:lnTo>
                  <a:pt x="5775" y="552"/>
                </a:lnTo>
                <a:lnTo>
                  <a:pt x="5763" y="553"/>
                </a:lnTo>
                <a:lnTo>
                  <a:pt x="5751" y="554"/>
                </a:lnTo>
                <a:lnTo>
                  <a:pt x="5740" y="556"/>
                </a:lnTo>
                <a:lnTo>
                  <a:pt x="5729" y="558"/>
                </a:lnTo>
                <a:lnTo>
                  <a:pt x="5718" y="560"/>
                </a:lnTo>
                <a:lnTo>
                  <a:pt x="5707" y="563"/>
                </a:lnTo>
                <a:lnTo>
                  <a:pt x="5697" y="567"/>
                </a:lnTo>
                <a:lnTo>
                  <a:pt x="5687" y="570"/>
                </a:lnTo>
                <a:lnTo>
                  <a:pt x="5677" y="574"/>
                </a:lnTo>
                <a:lnTo>
                  <a:pt x="5667" y="579"/>
                </a:lnTo>
                <a:lnTo>
                  <a:pt x="5658" y="584"/>
                </a:lnTo>
                <a:lnTo>
                  <a:pt x="5649" y="589"/>
                </a:lnTo>
                <a:lnTo>
                  <a:pt x="5640" y="595"/>
                </a:lnTo>
                <a:lnTo>
                  <a:pt x="5631" y="601"/>
                </a:lnTo>
                <a:lnTo>
                  <a:pt x="5622" y="607"/>
                </a:lnTo>
                <a:lnTo>
                  <a:pt x="5614" y="614"/>
                </a:lnTo>
                <a:lnTo>
                  <a:pt x="5606" y="622"/>
                </a:lnTo>
                <a:lnTo>
                  <a:pt x="5598" y="629"/>
                </a:lnTo>
                <a:lnTo>
                  <a:pt x="5590" y="637"/>
                </a:lnTo>
                <a:lnTo>
                  <a:pt x="5582" y="646"/>
                </a:lnTo>
                <a:lnTo>
                  <a:pt x="5575" y="655"/>
                </a:lnTo>
                <a:lnTo>
                  <a:pt x="5568" y="665"/>
                </a:lnTo>
                <a:lnTo>
                  <a:pt x="5553" y="685"/>
                </a:lnTo>
                <a:lnTo>
                  <a:pt x="5546" y="695"/>
                </a:lnTo>
                <a:lnTo>
                  <a:pt x="5540" y="707"/>
                </a:lnTo>
                <a:lnTo>
                  <a:pt x="5533" y="718"/>
                </a:lnTo>
                <a:lnTo>
                  <a:pt x="5526" y="730"/>
                </a:lnTo>
                <a:lnTo>
                  <a:pt x="5513" y="756"/>
                </a:lnTo>
                <a:lnTo>
                  <a:pt x="5513" y="570"/>
                </a:lnTo>
                <a:lnTo>
                  <a:pt x="5264" y="570"/>
                </a:lnTo>
                <a:lnTo>
                  <a:pt x="5264" y="1024"/>
                </a:lnTo>
                <a:lnTo>
                  <a:pt x="5264" y="1478"/>
                </a:lnTo>
                <a:lnTo>
                  <a:pt x="5523" y="1478"/>
                </a:lnTo>
                <a:lnTo>
                  <a:pt x="5523" y="1057"/>
                </a:lnTo>
                <a:lnTo>
                  <a:pt x="5523" y="1035"/>
                </a:lnTo>
                <a:lnTo>
                  <a:pt x="5523" y="1015"/>
                </a:lnTo>
                <a:lnTo>
                  <a:pt x="5524" y="997"/>
                </a:lnTo>
                <a:lnTo>
                  <a:pt x="5525" y="988"/>
                </a:lnTo>
                <a:lnTo>
                  <a:pt x="5526" y="979"/>
                </a:lnTo>
                <a:lnTo>
                  <a:pt x="5528" y="963"/>
                </a:lnTo>
                <a:lnTo>
                  <a:pt x="5530" y="948"/>
                </a:lnTo>
                <a:lnTo>
                  <a:pt x="5533" y="935"/>
                </a:lnTo>
                <a:lnTo>
                  <a:pt x="5536" y="922"/>
                </a:lnTo>
                <a:lnTo>
                  <a:pt x="5541" y="907"/>
                </a:lnTo>
                <a:lnTo>
                  <a:pt x="5546" y="893"/>
                </a:lnTo>
                <a:lnTo>
                  <a:pt x="5552" y="879"/>
                </a:lnTo>
                <a:lnTo>
                  <a:pt x="5559" y="867"/>
                </a:lnTo>
                <a:lnTo>
                  <a:pt x="5567" y="855"/>
                </a:lnTo>
                <a:lnTo>
                  <a:pt x="5575" y="844"/>
                </a:lnTo>
                <a:lnTo>
                  <a:pt x="5584" y="834"/>
                </a:lnTo>
                <a:lnTo>
                  <a:pt x="5593" y="824"/>
                </a:lnTo>
                <a:lnTo>
                  <a:pt x="5598" y="820"/>
                </a:lnTo>
                <a:lnTo>
                  <a:pt x="5603" y="816"/>
                </a:lnTo>
                <a:lnTo>
                  <a:pt x="5614" y="809"/>
                </a:lnTo>
                <a:lnTo>
                  <a:pt x="5625" y="802"/>
                </a:lnTo>
                <a:lnTo>
                  <a:pt x="5631" y="800"/>
                </a:lnTo>
                <a:lnTo>
                  <a:pt x="5636" y="797"/>
                </a:lnTo>
                <a:lnTo>
                  <a:pt x="5648" y="793"/>
                </a:lnTo>
                <a:lnTo>
                  <a:pt x="5661" y="790"/>
                </a:lnTo>
                <a:lnTo>
                  <a:pt x="5667" y="789"/>
                </a:lnTo>
                <a:lnTo>
                  <a:pt x="5673" y="788"/>
                </a:lnTo>
                <a:lnTo>
                  <a:pt x="5680" y="788"/>
                </a:lnTo>
                <a:lnTo>
                  <a:pt x="5686" y="788"/>
                </a:lnTo>
                <a:lnTo>
                  <a:pt x="5696" y="788"/>
                </a:lnTo>
                <a:lnTo>
                  <a:pt x="5705" y="789"/>
                </a:lnTo>
                <a:lnTo>
                  <a:pt x="5714" y="790"/>
                </a:lnTo>
                <a:lnTo>
                  <a:pt x="5723" y="793"/>
                </a:lnTo>
                <a:lnTo>
                  <a:pt x="5732" y="795"/>
                </a:lnTo>
                <a:lnTo>
                  <a:pt x="5739" y="799"/>
                </a:lnTo>
                <a:lnTo>
                  <a:pt x="5747" y="802"/>
                </a:lnTo>
                <a:lnTo>
                  <a:pt x="5754" y="807"/>
                </a:lnTo>
                <a:lnTo>
                  <a:pt x="5761" y="812"/>
                </a:lnTo>
                <a:lnTo>
                  <a:pt x="5767" y="817"/>
                </a:lnTo>
                <a:lnTo>
                  <a:pt x="5773" y="823"/>
                </a:lnTo>
                <a:lnTo>
                  <a:pt x="5779" y="830"/>
                </a:lnTo>
                <a:lnTo>
                  <a:pt x="5784" y="837"/>
                </a:lnTo>
                <a:lnTo>
                  <a:pt x="5789" y="845"/>
                </a:lnTo>
                <a:lnTo>
                  <a:pt x="5793" y="853"/>
                </a:lnTo>
                <a:lnTo>
                  <a:pt x="5797" y="861"/>
                </a:lnTo>
                <a:lnTo>
                  <a:pt x="5800" y="868"/>
                </a:lnTo>
                <a:lnTo>
                  <a:pt x="5802" y="875"/>
                </a:lnTo>
                <a:lnTo>
                  <a:pt x="5806" y="890"/>
                </a:lnTo>
                <a:lnTo>
                  <a:pt x="5809" y="906"/>
                </a:lnTo>
                <a:lnTo>
                  <a:pt x="5812" y="924"/>
                </a:lnTo>
                <a:lnTo>
                  <a:pt x="5814" y="945"/>
                </a:lnTo>
                <a:lnTo>
                  <a:pt x="5816" y="969"/>
                </a:lnTo>
                <a:lnTo>
                  <a:pt x="5816" y="981"/>
                </a:lnTo>
                <a:lnTo>
                  <a:pt x="5816" y="995"/>
                </a:lnTo>
                <a:lnTo>
                  <a:pt x="5817" y="1024"/>
                </a:lnTo>
                <a:lnTo>
                  <a:pt x="5817" y="1478"/>
                </a:lnTo>
                <a:lnTo>
                  <a:pt x="6077" y="1478"/>
                </a:lnTo>
                <a:lnTo>
                  <a:pt x="6077" y="1041"/>
                </a:lnTo>
                <a:lnTo>
                  <a:pt x="6077" y="1026"/>
                </a:lnTo>
                <a:lnTo>
                  <a:pt x="6077" y="1011"/>
                </a:lnTo>
                <a:lnTo>
                  <a:pt x="6078" y="997"/>
                </a:lnTo>
                <a:lnTo>
                  <a:pt x="6079" y="983"/>
                </a:lnTo>
                <a:lnTo>
                  <a:pt x="6081" y="970"/>
                </a:lnTo>
                <a:lnTo>
                  <a:pt x="6083" y="957"/>
                </a:lnTo>
                <a:lnTo>
                  <a:pt x="6085" y="944"/>
                </a:lnTo>
                <a:lnTo>
                  <a:pt x="6087" y="932"/>
                </a:lnTo>
                <a:lnTo>
                  <a:pt x="6093" y="910"/>
                </a:lnTo>
                <a:lnTo>
                  <a:pt x="6096" y="899"/>
                </a:lnTo>
                <a:lnTo>
                  <a:pt x="6100" y="889"/>
                </a:lnTo>
                <a:lnTo>
                  <a:pt x="6104" y="879"/>
                </a:lnTo>
                <a:lnTo>
                  <a:pt x="6108" y="870"/>
                </a:lnTo>
                <a:lnTo>
                  <a:pt x="6113" y="861"/>
                </a:lnTo>
                <a:lnTo>
                  <a:pt x="6118" y="853"/>
                </a:lnTo>
                <a:lnTo>
                  <a:pt x="6123" y="845"/>
                </a:lnTo>
                <a:lnTo>
                  <a:pt x="6129" y="838"/>
                </a:lnTo>
                <a:lnTo>
                  <a:pt x="6135" y="831"/>
                </a:lnTo>
                <a:lnTo>
                  <a:pt x="6141" y="824"/>
                </a:lnTo>
                <a:lnTo>
                  <a:pt x="6148" y="819"/>
                </a:lnTo>
                <a:lnTo>
                  <a:pt x="6155" y="813"/>
                </a:lnTo>
                <a:lnTo>
                  <a:pt x="6162" y="808"/>
                </a:lnTo>
                <a:lnTo>
                  <a:pt x="6169" y="804"/>
                </a:lnTo>
                <a:lnTo>
                  <a:pt x="6177" y="800"/>
                </a:lnTo>
                <a:lnTo>
                  <a:pt x="6185" y="797"/>
                </a:lnTo>
                <a:lnTo>
                  <a:pt x="6194" y="794"/>
                </a:lnTo>
                <a:lnTo>
                  <a:pt x="6202" y="792"/>
                </a:lnTo>
                <a:lnTo>
                  <a:pt x="6211" y="790"/>
                </a:lnTo>
                <a:lnTo>
                  <a:pt x="6221" y="789"/>
                </a:lnTo>
                <a:lnTo>
                  <a:pt x="6230" y="788"/>
                </a:lnTo>
                <a:lnTo>
                  <a:pt x="6240" y="788"/>
                </a:lnTo>
                <a:lnTo>
                  <a:pt x="6252" y="788"/>
                </a:lnTo>
                <a:lnTo>
                  <a:pt x="6263" y="789"/>
                </a:lnTo>
                <a:lnTo>
                  <a:pt x="6273" y="791"/>
                </a:lnTo>
                <a:lnTo>
                  <a:pt x="6283" y="793"/>
                </a:lnTo>
                <a:lnTo>
                  <a:pt x="6293" y="796"/>
                </a:lnTo>
                <a:lnTo>
                  <a:pt x="6302" y="800"/>
                </a:lnTo>
                <a:lnTo>
                  <a:pt x="6306" y="802"/>
                </a:lnTo>
                <a:lnTo>
                  <a:pt x="6310" y="804"/>
                </a:lnTo>
                <a:lnTo>
                  <a:pt x="6318" y="809"/>
                </a:lnTo>
                <a:lnTo>
                  <a:pt x="6325" y="815"/>
                </a:lnTo>
                <a:lnTo>
                  <a:pt x="6332" y="821"/>
                </a:lnTo>
                <a:lnTo>
                  <a:pt x="6338" y="829"/>
                </a:lnTo>
                <a:lnTo>
                  <a:pt x="6344" y="837"/>
                </a:lnTo>
                <a:lnTo>
                  <a:pt x="6349" y="845"/>
                </a:lnTo>
                <a:lnTo>
                  <a:pt x="6353" y="855"/>
                </a:lnTo>
                <a:lnTo>
                  <a:pt x="6357" y="865"/>
                </a:lnTo>
                <a:lnTo>
                  <a:pt x="6360" y="876"/>
                </a:lnTo>
                <a:lnTo>
                  <a:pt x="6362" y="887"/>
                </a:lnTo>
                <a:lnTo>
                  <a:pt x="6364" y="900"/>
                </a:lnTo>
                <a:lnTo>
                  <a:pt x="6366" y="915"/>
                </a:lnTo>
                <a:lnTo>
                  <a:pt x="6367" y="931"/>
                </a:lnTo>
                <a:lnTo>
                  <a:pt x="6369" y="969"/>
                </a:lnTo>
                <a:lnTo>
                  <a:pt x="6370" y="990"/>
                </a:lnTo>
                <a:lnTo>
                  <a:pt x="6370" y="1011"/>
                </a:lnTo>
                <a:lnTo>
                  <a:pt x="6370" y="1478"/>
                </a:lnTo>
                <a:lnTo>
                  <a:pt x="6630" y="1478"/>
                </a:lnTo>
                <a:close/>
                <a:moveTo>
                  <a:pt x="2027" y="314"/>
                </a:moveTo>
                <a:lnTo>
                  <a:pt x="2012" y="315"/>
                </a:lnTo>
                <a:lnTo>
                  <a:pt x="2005" y="316"/>
                </a:lnTo>
                <a:lnTo>
                  <a:pt x="1998" y="317"/>
                </a:lnTo>
                <a:lnTo>
                  <a:pt x="1991" y="318"/>
                </a:lnTo>
                <a:lnTo>
                  <a:pt x="1985" y="320"/>
                </a:lnTo>
                <a:lnTo>
                  <a:pt x="1979" y="322"/>
                </a:lnTo>
                <a:lnTo>
                  <a:pt x="1972" y="324"/>
                </a:lnTo>
                <a:lnTo>
                  <a:pt x="1961" y="330"/>
                </a:lnTo>
                <a:lnTo>
                  <a:pt x="1955" y="333"/>
                </a:lnTo>
                <a:lnTo>
                  <a:pt x="1950" y="337"/>
                </a:lnTo>
                <a:lnTo>
                  <a:pt x="1940" y="344"/>
                </a:lnTo>
                <a:lnTo>
                  <a:pt x="1935" y="349"/>
                </a:lnTo>
                <a:lnTo>
                  <a:pt x="1931" y="353"/>
                </a:lnTo>
                <a:lnTo>
                  <a:pt x="1923" y="363"/>
                </a:lnTo>
                <a:lnTo>
                  <a:pt x="1919" y="369"/>
                </a:lnTo>
                <a:lnTo>
                  <a:pt x="1916" y="374"/>
                </a:lnTo>
                <a:lnTo>
                  <a:pt x="1913" y="380"/>
                </a:lnTo>
                <a:lnTo>
                  <a:pt x="1910" y="386"/>
                </a:lnTo>
                <a:lnTo>
                  <a:pt x="1905" y="399"/>
                </a:lnTo>
                <a:lnTo>
                  <a:pt x="1901" y="413"/>
                </a:lnTo>
                <a:lnTo>
                  <a:pt x="1899" y="420"/>
                </a:lnTo>
                <a:lnTo>
                  <a:pt x="1898" y="427"/>
                </a:lnTo>
                <a:lnTo>
                  <a:pt x="1896" y="443"/>
                </a:lnTo>
                <a:lnTo>
                  <a:pt x="1896" y="451"/>
                </a:lnTo>
                <a:lnTo>
                  <a:pt x="1896" y="459"/>
                </a:lnTo>
                <a:lnTo>
                  <a:pt x="1896" y="571"/>
                </a:lnTo>
                <a:lnTo>
                  <a:pt x="2079" y="571"/>
                </a:lnTo>
                <a:lnTo>
                  <a:pt x="2079" y="777"/>
                </a:lnTo>
                <a:lnTo>
                  <a:pt x="1896" y="777"/>
                </a:lnTo>
                <a:lnTo>
                  <a:pt x="1896" y="1479"/>
                </a:lnTo>
                <a:lnTo>
                  <a:pt x="1645" y="1479"/>
                </a:lnTo>
                <a:lnTo>
                  <a:pt x="1645" y="779"/>
                </a:lnTo>
                <a:lnTo>
                  <a:pt x="1529" y="779"/>
                </a:lnTo>
                <a:lnTo>
                  <a:pt x="1529" y="576"/>
                </a:lnTo>
                <a:lnTo>
                  <a:pt x="1645" y="576"/>
                </a:lnTo>
                <a:lnTo>
                  <a:pt x="1645" y="482"/>
                </a:lnTo>
                <a:lnTo>
                  <a:pt x="1645" y="447"/>
                </a:lnTo>
                <a:lnTo>
                  <a:pt x="1646" y="430"/>
                </a:lnTo>
                <a:lnTo>
                  <a:pt x="1647" y="412"/>
                </a:lnTo>
                <a:lnTo>
                  <a:pt x="1649" y="395"/>
                </a:lnTo>
                <a:lnTo>
                  <a:pt x="1650" y="377"/>
                </a:lnTo>
                <a:lnTo>
                  <a:pt x="1653" y="360"/>
                </a:lnTo>
                <a:lnTo>
                  <a:pt x="1655" y="343"/>
                </a:lnTo>
                <a:lnTo>
                  <a:pt x="1659" y="326"/>
                </a:lnTo>
                <a:lnTo>
                  <a:pt x="1663" y="310"/>
                </a:lnTo>
                <a:lnTo>
                  <a:pt x="1667" y="294"/>
                </a:lnTo>
                <a:lnTo>
                  <a:pt x="1672" y="278"/>
                </a:lnTo>
                <a:lnTo>
                  <a:pt x="1678" y="262"/>
                </a:lnTo>
                <a:lnTo>
                  <a:pt x="1685" y="247"/>
                </a:lnTo>
                <a:lnTo>
                  <a:pt x="1692" y="233"/>
                </a:lnTo>
                <a:lnTo>
                  <a:pt x="1696" y="225"/>
                </a:lnTo>
                <a:lnTo>
                  <a:pt x="1700" y="218"/>
                </a:lnTo>
                <a:lnTo>
                  <a:pt x="1705" y="212"/>
                </a:lnTo>
                <a:lnTo>
                  <a:pt x="1709" y="205"/>
                </a:lnTo>
                <a:lnTo>
                  <a:pt x="1719" y="192"/>
                </a:lnTo>
                <a:lnTo>
                  <a:pt x="1730" y="180"/>
                </a:lnTo>
                <a:lnTo>
                  <a:pt x="1742" y="168"/>
                </a:lnTo>
                <a:lnTo>
                  <a:pt x="1755" y="157"/>
                </a:lnTo>
                <a:lnTo>
                  <a:pt x="1761" y="152"/>
                </a:lnTo>
                <a:lnTo>
                  <a:pt x="1769" y="147"/>
                </a:lnTo>
                <a:lnTo>
                  <a:pt x="1784" y="137"/>
                </a:lnTo>
                <a:lnTo>
                  <a:pt x="1791" y="133"/>
                </a:lnTo>
                <a:lnTo>
                  <a:pt x="1800" y="129"/>
                </a:lnTo>
                <a:lnTo>
                  <a:pt x="1817" y="121"/>
                </a:lnTo>
                <a:lnTo>
                  <a:pt x="1826" y="117"/>
                </a:lnTo>
                <a:lnTo>
                  <a:pt x="1835" y="114"/>
                </a:lnTo>
                <a:lnTo>
                  <a:pt x="1855" y="108"/>
                </a:lnTo>
                <a:lnTo>
                  <a:pt x="1876" y="103"/>
                </a:lnTo>
                <a:lnTo>
                  <a:pt x="1899" y="99"/>
                </a:lnTo>
                <a:lnTo>
                  <a:pt x="1910" y="98"/>
                </a:lnTo>
                <a:lnTo>
                  <a:pt x="1923" y="96"/>
                </a:lnTo>
                <a:lnTo>
                  <a:pt x="1948" y="95"/>
                </a:lnTo>
                <a:lnTo>
                  <a:pt x="1961" y="94"/>
                </a:lnTo>
                <a:lnTo>
                  <a:pt x="1974" y="94"/>
                </a:lnTo>
                <a:lnTo>
                  <a:pt x="1999" y="94"/>
                </a:lnTo>
                <a:lnTo>
                  <a:pt x="2021" y="95"/>
                </a:lnTo>
                <a:lnTo>
                  <a:pt x="2041" y="97"/>
                </a:lnTo>
                <a:lnTo>
                  <a:pt x="2061" y="99"/>
                </a:lnTo>
                <a:lnTo>
                  <a:pt x="2080" y="102"/>
                </a:lnTo>
                <a:lnTo>
                  <a:pt x="2100" y="106"/>
                </a:lnTo>
                <a:lnTo>
                  <a:pt x="2122" y="110"/>
                </a:lnTo>
                <a:lnTo>
                  <a:pt x="2146" y="115"/>
                </a:lnTo>
                <a:lnTo>
                  <a:pt x="2146" y="330"/>
                </a:lnTo>
                <a:lnTo>
                  <a:pt x="2122" y="325"/>
                </a:lnTo>
                <a:lnTo>
                  <a:pt x="2110" y="322"/>
                </a:lnTo>
                <a:lnTo>
                  <a:pt x="2097" y="319"/>
                </a:lnTo>
                <a:lnTo>
                  <a:pt x="2082" y="317"/>
                </a:lnTo>
                <a:lnTo>
                  <a:pt x="2066" y="316"/>
                </a:lnTo>
                <a:lnTo>
                  <a:pt x="2048" y="315"/>
                </a:lnTo>
                <a:lnTo>
                  <a:pt x="2027" y="3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77712" tIns="38856" rIns="77712" bIns="3885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>
              <a:latin typeface="Arial"/>
            </a:endParaRPr>
          </a:p>
        </p:txBody>
      </p:sp>
      <p:sp>
        <p:nvSpPr>
          <p:cNvPr id="8" name="(c)" hidden="1"/>
          <p:cNvSpPr txBox="1"/>
          <p:nvPr userDrawn="1"/>
        </p:nvSpPr>
        <p:spPr>
          <a:xfrm>
            <a:off x="10179581" y="7255256"/>
            <a:ext cx="176330" cy="261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i-FI" sz="170" b="0" dirty="0">
                <a:solidFill>
                  <a:prstClr val="white"/>
                </a:solidFill>
                <a:latin typeface="Arial"/>
              </a:rPr>
              <a:t>©grow. for fortum</a:t>
            </a:r>
            <a:endParaRPr lang="en-GB" sz="170" b="0" dirty="0" err="1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9978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</p:sldLayoutIdLst>
  <p:hf hdr="0" ftr="0" dt="0"/>
  <p:txStyles>
    <p:titleStyle>
      <a:lvl1pPr algn="l" defTabSz="777149" rtl="0" eaLnBrk="1" latinLnBrk="0" hangingPunct="1">
        <a:lnSpc>
          <a:spcPct val="85000"/>
        </a:lnSpc>
        <a:spcBef>
          <a:spcPct val="0"/>
        </a:spcBef>
        <a:buNone/>
        <a:defRPr sz="238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6668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700" kern="1200">
          <a:solidFill>
            <a:srgbClr val="000000"/>
          </a:solidFill>
          <a:latin typeface="+mn-lt"/>
          <a:ea typeface="+mn-ea"/>
          <a:cs typeface="+mn-cs"/>
        </a:defRPr>
      </a:lvl1pPr>
      <a:lvl2pPr marL="458734" indent="-23206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530" kern="1200">
          <a:solidFill>
            <a:srgbClr val="000000"/>
          </a:solidFill>
          <a:latin typeface="+mn-lt"/>
          <a:ea typeface="+mn-ea"/>
          <a:cs typeface="+mn-cs"/>
        </a:defRPr>
      </a:lvl2pPr>
      <a:lvl3pPr marL="685402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360" kern="1200">
          <a:solidFill>
            <a:srgbClr val="000000"/>
          </a:solidFill>
          <a:latin typeface="+mn-lt"/>
          <a:ea typeface="+mn-ea"/>
          <a:cs typeface="+mn-cs"/>
        </a:defRPr>
      </a:lvl3pPr>
      <a:lvl4pPr marL="910721" indent="-225320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190" kern="1200">
          <a:solidFill>
            <a:srgbClr val="000000"/>
          </a:solidFill>
          <a:latin typeface="+mn-lt"/>
          <a:ea typeface="+mn-ea"/>
          <a:cs typeface="+mn-cs"/>
        </a:defRPr>
      </a:lvl4pPr>
      <a:lvl5pPr marL="1144135" indent="-23341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190" kern="1200">
          <a:solidFill>
            <a:srgbClr val="000000"/>
          </a:solidFill>
          <a:latin typeface="+mn-lt"/>
          <a:ea typeface="+mn-ea"/>
          <a:cs typeface="+mn-cs"/>
        </a:defRPr>
      </a:lvl5pPr>
      <a:lvl6pPr marL="1370804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020" kern="1200">
          <a:solidFill>
            <a:srgbClr val="000000"/>
          </a:solidFill>
          <a:latin typeface="+mn-lt"/>
          <a:ea typeface="+mn-ea"/>
          <a:cs typeface="+mn-cs"/>
        </a:defRPr>
      </a:lvl6pPr>
      <a:lvl7pPr marL="1596123" indent="-225320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020" kern="1200">
          <a:solidFill>
            <a:srgbClr val="000000"/>
          </a:solidFill>
          <a:latin typeface="+mn-lt"/>
          <a:ea typeface="+mn-ea"/>
          <a:cs typeface="+mn-cs"/>
        </a:defRPr>
      </a:lvl7pPr>
      <a:lvl8pPr marL="1829537" indent="-23341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020" kern="1200">
          <a:solidFill>
            <a:srgbClr val="000000"/>
          </a:solidFill>
          <a:latin typeface="+mn-lt"/>
          <a:ea typeface="+mn-ea"/>
          <a:cs typeface="+mn-cs"/>
        </a:defRPr>
      </a:lvl8pPr>
      <a:lvl9pPr marL="2056206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02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574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149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723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297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2871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446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020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594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163" y="501826"/>
            <a:ext cx="9425289" cy="7591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3" y="1564031"/>
            <a:ext cx="9425289" cy="485600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3270" y="6686001"/>
            <a:ext cx="1224137" cy="26596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latin typeface="Arial"/>
              </a:rPr>
              <a:t>20.3.2017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7407" y="6686001"/>
            <a:ext cx="6364028" cy="26596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latin typeface="Arial"/>
              </a:rPr>
              <a:t> 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8163" y="6686003"/>
            <a:ext cx="245108" cy="265627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90E5A77-D385-4CDE-8FE8-D3E3CBE93E71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fortum2016"/>
          <p:cNvSpPr>
            <a:spLocks noChangeAspect="1" noEditPoints="1"/>
          </p:cNvSpPr>
          <p:nvPr userDrawn="1"/>
        </p:nvSpPr>
        <p:spPr bwMode="auto">
          <a:xfrm>
            <a:off x="8856544" y="6647527"/>
            <a:ext cx="1036908" cy="303467"/>
          </a:xfrm>
          <a:custGeom>
            <a:avLst/>
            <a:gdLst>
              <a:gd name="T0" fmla="*/ 317 w 6630"/>
              <a:gd name="T1" fmla="*/ 622 h 1565"/>
              <a:gd name="T2" fmla="*/ 549 w 6630"/>
              <a:gd name="T3" fmla="*/ 281 h 1565"/>
              <a:gd name="T4" fmla="*/ 146 w 6630"/>
              <a:gd name="T5" fmla="*/ 254 h 1565"/>
              <a:gd name="T6" fmla="*/ 2 w 6630"/>
              <a:gd name="T7" fmla="*/ 668 h 1565"/>
              <a:gd name="T8" fmla="*/ 113 w 6630"/>
              <a:gd name="T9" fmla="*/ 1146 h 1565"/>
              <a:gd name="T10" fmla="*/ 417 w 6630"/>
              <a:gd name="T11" fmla="*/ 1452 h 1565"/>
              <a:gd name="T12" fmla="*/ 862 w 6630"/>
              <a:gd name="T13" fmla="*/ 1565 h 1565"/>
              <a:gd name="T14" fmla="*/ 1067 w 6630"/>
              <a:gd name="T15" fmla="*/ 1206 h 1565"/>
              <a:gd name="T16" fmla="*/ 718 w 6630"/>
              <a:gd name="T17" fmla="*/ 1244 h 1565"/>
              <a:gd name="T18" fmla="*/ 395 w 6630"/>
              <a:gd name="T19" fmla="*/ 1028 h 1565"/>
              <a:gd name="T20" fmla="*/ 689 w 6630"/>
              <a:gd name="T21" fmla="*/ 1169 h 1565"/>
              <a:gd name="T22" fmla="*/ 1039 w 6630"/>
              <a:gd name="T23" fmla="*/ 1148 h 1565"/>
              <a:gd name="T24" fmla="*/ 1292 w 6630"/>
              <a:gd name="T25" fmla="*/ 840 h 1565"/>
              <a:gd name="T26" fmla="*/ 1208 w 6630"/>
              <a:gd name="T27" fmla="*/ 435 h 1565"/>
              <a:gd name="T28" fmla="*/ 902 w 6630"/>
              <a:gd name="T29" fmla="*/ 264 h 1565"/>
              <a:gd name="T30" fmla="*/ 518 w 6630"/>
              <a:gd name="T31" fmla="*/ 388 h 1565"/>
              <a:gd name="T32" fmla="*/ 372 w 6630"/>
              <a:gd name="T33" fmla="*/ 702 h 1565"/>
              <a:gd name="T34" fmla="*/ 3593 w 6630"/>
              <a:gd name="T35" fmla="*/ 799 h 1565"/>
              <a:gd name="T36" fmla="*/ 3366 w 6630"/>
              <a:gd name="T37" fmla="*/ 869 h 1565"/>
              <a:gd name="T38" fmla="*/ 3297 w 6630"/>
              <a:gd name="T39" fmla="*/ 570 h 1565"/>
              <a:gd name="T40" fmla="*/ 3419 w 6630"/>
              <a:gd name="T41" fmla="*/ 595 h 1565"/>
              <a:gd name="T42" fmla="*/ 4253 w 6630"/>
              <a:gd name="T43" fmla="*/ 1275 h 1565"/>
              <a:gd name="T44" fmla="*/ 4022 w 6630"/>
              <a:gd name="T45" fmla="*/ 1243 h 1565"/>
              <a:gd name="T46" fmla="*/ 3739 w 6630"/>
              <a:gd name="T47" fmla="*/ 1222 h 1565"/>
              <a:gd name="T48" fmla="*/ 3881 w 6630"/>
              <a:gd name="T49" fmla="*/ 1458 h 1565"/>
              <a:gd name="T50" fmla="*/ 2979 w 6630"/>
              <a:gd name="T51" fmla="*/ 1024 h 1565"/>
              <a:gd name="T52" fmla="*/ 2840 w 6630"/>
              <a:gd name="T53" fmla="*/ 1384 h 1565"/>
              <a:gd name="T54" fmla="*/ 2563 w 6630"/>
              <a:gd name="T55" fmla="*/ 1502 h 1565"/>
              <a:gd name="T56" fmla="*/ 2237 w 6630"/>
              <a:gd name="T57" fmla="*/ 1402 h 1565"/>
              <a:gd name="T58" fmla="*/ 2085 w 6630"/>
              <a:gd name="T59" fmla="*/ 1074 h 1565"/>
              <a:gd name="T60" fmla="*/ 2179 w 6630"/>
              <a:gd name="T61" fmla="*/ 715 h 1565"/>
              <a:gd name="T62" fmla="*/ 2521 w 6630"/>
              <a:gd name="T63" fmla="*/ 546 h 1565"/>
              <a:gd name="T64" fmla="*/ 2907 w 6630"/>
              <a:gd name="T65" fmla="*/ 740 h 1565"/>
              <a:gd name="T66" fmla="*/ 2711 w 6630"/>
              <a:gd name="T67" fmla="*/ 938 h 1565"/>
              <a:gd name="T68" fmla="*/ 2584 w 6630"/>
              <a:gd name="T69" fmla="*/ 769 h 1565"/>
              <a:gd name="T70" fmla="*/ 2395 w 6630"/>
              <a:gd name="T71" fmla="*/ 833 h 1565"/>
              <a:gd name="T72" fmla="*/ 2349 w 6630"/>
              <a:gd name="T73" fmla="*/ 1090 h 1565"/>
              <a:gd name="T74" fmla="*/ 2495 w 6630"/>
              <a:gd name="T75" fmla="*/ 1278 h 1565"/>
              <a:gd name="T76" fmla="*/ 2670 w 6630"/>
              <a:gd name="T77" fmla="*/ 1213 h 1565"/>
              <a:gd name="T78" fmla="*/ 4906 w 6630"/>
              <a:gd name="T79" fmla="*/ 1070 h 1565"/>
              <a:gd name="T80" fmla="*/ 4796 w 6630"/>
              <a:gd name="T81" fmla="*/ 1276 h 1565"/>
              <a:gd name="T82" fmla="*/ 4627 w 6630"/>
              <a:gd name="T83" fmla="*/ 1221 h 1565"/>
              <a:gd name="T84" fmla="*/ 4342 w 6630"/>
              <a:gd name="T85" fmla="*/ 1149 h 1565"/>
              <a:gd name="T86" fmla="*/ 4475 w 6630"/>
              <a:gd name="T87" fmla="*/ 1421 h 1565"/>
              <a:gd name="T88" fmla="*/ 4831 w 6630"/>
              <a:gd name="T89" fmla="*/ 1494 h 1565"/>
              <a:gd name="T90" fmla="*/ 5106 w 6630"/>
              <a:gd name="T91" fmla="*/ 1336 h 1565"/>
              <a:gd name="T92" fmla="*/ 6626 w 6630"/>
              <a:gd name="T93" fmla="*/ 838 h 1565"/>
              <a:gd name="T94" fmla="*/ 6501 w 6630"/>
              <a:gd name="T95" fmla="*/ 594 h 1565"/>
              <a:gd name="T96" fmla="*/ 6231 w 6630"/>
              <a:gd name="T97" fmla="*/ 567 h 1565"/>
              <a:gd name="T98" fmla="*/ 6057 w 6630"/>
              <a:gd name="T99" fmla="*/ 735 h 1565"/>
              <a:gd name="T100" fmla="*/ 5910 w 6630"/>
              <a:gd name="T101" fmla="*/ 572 h 1565"/>
              <a:gd name="T102" fmla="*/ 5667 w 6630"/>
              <a:gd name="T103" fmla="*/ 579 h 1565"/>
              <a:gd name="T104" fmla="*/ 5264 w 6630"/>
              <a:gd name="T105" fmla="*/ 1024 h 1565"/>
              <a:gd name="T106" fmla="*/ 5598 w 6630"/>
              <a:gd name="T107" fmla="*/ 820 h 1565"/>
              <a:gd name="T108" fmla="*/ 5767 w 6630"/>
              <a:gd name="T109" fmla="*/ 817 h 1565"/>
              <a:gd name="T110" fmla="*/ 6077 w 6630"/>
              <a:gd name="T111" fmla="*/ 1011 h 1565"/>
              <a:gd name="T112" fmla="*/ 6169 w 6630"/>
              <a:gd name="T113" fmla="*/ 804 h 1565"/>
              <a:gd name="T114" fmla="*/ 6344 w 6630"/>
              <a:gd name="T115" fmla="*/ 837 h 1565"/>
              <a:gd name="T116" fmla="*/ 1972 w 6630"/>
              <a:gd name="T117" fmla="*/ 324 h 1565"/>
              <a:gd name="T118" fmla="*/ 2079 w 6630"/>
              <a:gd name="T119" fmla="*/ 777 h 1565"/>
              <a:gd name="T120" fmla="*/ 1685 w 6630"/>
              <a:gd name="T121" fmla="*/ 247 h 1565"/>
              <a:gd name="T122" fmla="*/ 1910 w 6630"/>
              <a:gd name="T123" fmla="*/ 98 h 1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30" h="1565">
                <a:moveTo>
                  <a:pt x="375" y="995"/>
                </a:moveTo>
                <a:lnTo>
                  <a:pt x="362" y="972"/>
                </a:lnTo>
                <a:lnTo>
                  <a:pt x="351" y="949"/>
                </a:lnTo>
                <a:lnTo>
                  <a:pt x="341" y="925"/>
                </a:lnTo>
                <a:lnTo>
                  <a:pt x="333" y="901"/>
                </a:lnTo>
                <a:lnTo>
                  <a:pt x="329" y="889"/>
                </a:lnTo>
                <a:lnTo>
                  <a:pt x="325" y="876"/>
                </a:lnTo>
                <a:lnTo>
                  <a:pt x="319" y="851"/>
                </a:lnTo>
                <a:lnTo>
                  <a:pt x="314" y="826"/>
                </a:lnTo>
                <a:lnTo>
                  <a:pt x="310" y="801"/>
                </a:lnTo>
                <a:lnTo>
                  <a:pt x="309" y="788"/>
                </a:lnTo>
                <a:lnTo>
                  <a:pt x="308" y="775"/>
                </a:lnTo>
                <a:lnTo>
                  <a:pt x="307" y="762"/>
                </a:lnTo>
                <a:lnTo>
                  <a:pt x="306" y="749"/>
                </a:lnTo>
                <a:lnTo>
                  <a:pt x="306" y="724"/>
                </a:lnTo>
                <a:lnTo>
                  <a:pt x="307" y="698"/>
                </a:lnTo>
                <a:lnTo>
                  <a:pt x="309" y="673"/>
                </a:lnTo>
                <a:lnTo>
                  <a:pt x="311" y="660"/>
                </a:lnTo>
                <a:lnTo>
                  <a:pt x="313" y="647"/>
                </a:lnTo>
                <a:lnTo>
                  <a:pt x="315" y="635"/>
                </a:lnTo>
                <a:lnTo>
                  <a:pt x="317" y="622"/>
                </a:lnTo>
                <a:lnTo>
                  <a:pt x="323" y="597"/>
                </a:lnTo>
                <a:lnTo>
                  <a:pt x="330" y="572"/>
                </a:lnTo>
                <a:lnTo>
                  <a:pt x="338" y="548"/>
                </a:lnTo>
                <a:lnTo>
                  <a:pt x="348" y="524"/>
                </a:lnTo>
                <a:lnTo>
                  <a:pt x="358" y="500"/>
                </a:lnTo>
                <a:lnTo>
                  <a:pt x="364" y="488"/>
                </a:lnTo>
                <a:lnTo>
                  <a:pt x="370" y="477"/>
                </a:lnTo>
                <a:lnTo>
                  <a:pt x="376" y="465"/>
                </a:lnTo>
                <a:lnTo>
                  <a:pt x="383" y="454"/>
                </a:lnTo>
                <a:lnTo>
                  <a:pt x="397" y="432"/>
                </a:lnTo>
                <a:lnTo>
                  <a:pt x="404" y="421"/>
                </a:lnTo>
                <a:lnTo>
                  <a:pt x="412" y="410"/>
                </a:lnTo>
                <a:lnTo>
                  <a:pt x="428" y="390"/>
                </a:lnTo>
                <a:lnTo>
                  <a:pt x="445" y="369"/>
                </a:lnTo>
                <a:lnTo>
                  <a:pt x="464" y="350"/>
                </a:lnTo>
                <a:lnTo>
                  <a:pt x="483" y="331"/>
                </a:lnTo>
                <a:lnTo>
                  <a:pt x="504" y="314"/>
                </a:lnTo>
                <a:lnTo>
                  <a:pt x="515" y="305"/>
                </a:lnTo>
                <a:lnTo>
                  <a:pt x="526" y="297"/>
                </a:lnTo>
                <a:lnTo>
                  <a:pt x="537" y="289"/>
                </a:lnTo>
                <a:lnTo>
                  <a:pt x="549" y="281"/>
                </a:lnTo>
                <a:lnTo>
                  <a:pt x="573" y="267"/>
                </a:lnTo>
                <a:lnTo>
                  <a:pt x="629" y="57"/>
                </a:lnTo>
                <a:lnTo>
                  <a:pt x="419" y="0"/>
                </a:lnTo>
                <a:lnTo>
                  <a:pt x="401" y="11"/>
                </a:lnTo>
                <a:lnTo>
                  <a:pt x="383" y="23"/>
                </a:lnTo>
                <a:lnTo>
                  <a:pt x="365" y="35"/>
                </a:lnTo>
                <a:lnTo>
                  <a:pt x="347" y="47"/>
                </a:lnTo>
                <a:lnTo>
                  <a:pt x="330" y="60"/>
                </a:lnTo>
                <a:lnTo>
                  <a:pt x="314" y="73"/>
                </a:lnTo>
                <a:lnTo>
                  <a:pt x="297" y="86"/>
                </a:lnTo>
                <a:lnTo>
                  <a:pt x="282" y="100"/>
                </a:lnTo>
                <a:lnTo>
                  <a:pt x="266" y="114"/>
                </a:lnTo>
                <a:lnTo>
                  <a:pt x="251" y="128"/>
                </a:lnTo>
                <a:lnTo>
                  <a:pt x="237" y="143"/>
                </a:lnTo>
                <a:lnTo>
                  <a:pt x="222" y="158"/>
                </a:lnTo>
                <a:lnTo>
                  <a:pt x="209" y="173"/>
                </a:lnTo>
                <a:lnTo>
                  <a:pt x="195" y="188"/>
                </a:lnTo>
                <a:lnTo>
                  <a:pt x="182" y="204"/>
                </a:lnTo>
                <a:lnTo>
                  <a:pt x="170" y="220"/>
                </a:lnTo>
                <a:lnTo>
                  <a:pt x="158" y="237"/>
                </a:lnTo>
                <a:lnTo>
                  <a:pt x="146" y="254"/>
                </a:lnTo>
                <a:lnTo>
                  <a:pt x="135" y="270"/>
                </a:lnTo>
                <a:lnTo>
                  <a:pt x="124" y="288"/>
                </a:lnTo>
                <a:lnTo>
                  <a:pt x="114" y="305"/>
                </a:lnTo>
                <a:lnTo>
                  <a:pt x="104" y="323"/>
                </a:lnTo>
                <a:lnTo>
                  <a:pt x="94" y="341"/>
                </a:lnTo>
                <a:lnTo>
                  <a:pt x="85" y="359"/>
                </a:lnTo>
                <a:lnTo>
                  <a:pt x="76" y="377"/>
                </a:lnTo>
                <a:lnTo>
                  <a:pt x="68" y="395"/>
                </a:lnTo>
                <a:lnTo>
                  <a:pt x="61" y="414"/>
                </a:lnTo>
                <a:lnTo>
                  <a:pt x="53" y="433"/>
                </a:lnTo>
                <a:lnTo>
                  <a:pt x="47" y="452"/>
                </a:lnTo>
                <a:lnTo>
                  <a:pt x="40" y="471"/>
                </a:lnTo>
                <a:lnTo>
                  <a:pt x="29" y="509"/>
                </a:lnTo>
                <a:lnTo>
                  <a:pt x="24" y="529"/>
                </a:lnTo>
                <a:lnTo>
                  <a:pt x="19" y="548"/>
                </a:lnTo>
                <a:lnTo>
                  <a:pt x="15" y="568"/>
                </a:lnTo>
                <a:lnTo>
                  <a:pt x="12" y="588"/>
                </a:lnTo>
                <a:lnTo>
                  <a:pt x="9" y="608"/>
                </a:lnTo>
                <a:lnTo>
                  <a:pt x="6" y="628"/>
                </a:lnTo>
                <a:lnTo>
                  <a:pt x="4" y="648"/>
                </a:lnTo>
                <a:lnTo>
                  <a:pt x="2" y="668"/>
                </a:lnTo>
                <a:lnTo>
                  <a:pt x="1" y="688"/>
                </a:lnTo>
                <a:lnTo>
                  <a:pt x="0" y="708"/>
                </a:lnTo>
                <a:lnTo>
                  <a:pt x="0" y="749"/>
                </a:lnTo>
                <a:lnTo>
                  <a:pt x="1" y="769"/>
                </a:lnTo>
                <a:lnTo>
                  <a:pt x="2" y="790"/>
                </a:lnTo>
                <a:lnTo>
                  <a:pt x="4" y="810"/>
                </a:lnTo>
                <a:lnTo>
                  <a:pt x="6" y="831"/>
                </a:lnTo>
                <a:lnTo>
                  <a:pt x="13" y="871"/>
                </a:lnTo>
                <a:lnTo>
                  <a:pt x="16" y="891"/>
                </a:lnTo>
                <a:lnTo>
                  <a:pt x="21" y="911"/>
                </a:lnTo>
                <a:lnTo>
                  <a:pt x="25" y="932"/>
                </a:lnTo>
                <a:lnTo>
                  <a:pt x="31" y="952"/>
                </a:lnTo>
                <a:lnTo>
                  <a:pt x="36" y="972"/>
                </a:lnTo>
                <a:lnTo>
                  <a:pt x="43" y="991"/>
                </a:lnTo>
                <a:lnTo>
                  <a:pt x="57" y="1031"/>
                </a:lnTo>
                <a:lnTo>
                  <a:pt x="65" y="1050"/>
                </a:lnTo>
                <a:lnTo>
                  <a:pt x="73" y="1070"/>
                </a:lnTo>
                <a:lnTo>
                  <a:pt x="82" y="1089"/>
                </a:lnTo>
                <a:lnTo>
                  <a:pt x="92" y="1108"/>
                </a:lnTo>
                <a:lnTo>
                  <a:pt x="102" y="1127"/>
                </a:lnTo>
                <a:lnTo>
                  <a:pt x="113" y="1146"/>
                </a:lnTo>
                <a:lnTo>
                  <a:pt x="124" y="1165"/>
                </a:lnTo>
                <a:lnTo>
                  <a:pt x="135" y="1183"/>
                </a:lnTo>
                <a:lnTo>
                  <a:pt x="147" y="1201"/>
                </a:lnTo>
                <a:lnTo>
                  <a:pt x="159" y="1218"/>
                </a:lnTo>
                <a:lnTo>
                  <a:pt x="172" y="1235"/>
                </a:lnTo>
                <a:lnTo>
                  <a:pt x="185" y="1252"/>
                </a:lnTo>
                <a:lnTo>
                  <a:pt x="198" y="1268"/>
                </a:lnTo>
                <a:lnTo>
                  <a:pt x="212" y="1284"/>
                </a:lnTo>
                <a:lnTo>
                  <a:pt x="226" y="1299"/>
                </a:lnTo>
                <a:lnTo>
                  <a:pt x="240" y="1314"/>
                </a:lnTo>
                <a:lnTo>
                  <a:pt x="255" y="1329"/>
                </a:lnTo>
                <a:lnTo>
                  <a:pt x="270" y="1343"/>
                </a:lnTo>
                <a:lnTo>
                  <a:pt x="285" y="1357"/>
                </a:lnTo>
                <a:lnTo>
                  <a:pt x="301" y="1370"/>
                </a:lnTo>
                <a:lnTo>
                  <a:pt x="317" y="1383"/>
                </a:lnTo>
                <a:lnTo>
                  <a:pt x="333" y="1396"/>
                </a:lnTo>
                <a:lnTo>
                  <a:pt x="349" y="1408"/>
                </a:lnTo>
                <a:lnTo>
                  <a:pt x="366" y="1419"/>
                </a:lnTo>
                <a:lnTo>
                  <a:pt x="383" y="1431"/>
                </a:lnTo>
                <a:lnTo>
                  <a:pt x="400" y="1441"/>
                </a:lnTo>
                <a:lnTo>
                  <a:pt x="417" y="1452"/>
                </a:lnTo>
                <a:lnTo>
                  <a:pt x="435" y="1462"/>
                </a:lnTo>
                <a:lnTo>
                  <a:pt x="453" y="1471"/>
                </a:lnTo>
                <a:lnTo>
                  <a:pt x="471" y="1480"/>
                </a:lnTo>
                <a:lnTo>
                  <a:pt x="489" y="1489"/>
                </a:lnTo>
                <a:lnTo>
                  <a:pt x="508" y="1497"/>
                </a:lnTo>
                <a:lnTo>
                  <a:pt x="526" y="1505"/>
                </a:lnTo>
                <a:lnTo>
                  <a:pt x="545" y="1512"/>
                </a:lnTo>
                <a:lnTo>
                  <a:pt x="564" y="1519"/>
                </a:lnTo>
                <a:lnTo>
                  <a:pt x="583" y="1525"/>
                </a:lnTo>
                <a:lnTo>
                  <a:pt x="622" y="1536"/>
                </a:lnTo>
                <a:lnTo>
                  <a:pt x="641" y="1541"/>
                </a:lnTo>
                <a:lnTo>
                  <a:pt x="661" y="1546"/>
                </a:lnTo>
                <a:lnTo>
                  <a:pt x="680" y="1550"/>
                </a:lnTo>
                <a:lnTo>
                  <a:pt x="700" y="1554"/>
                </a:lnTo>
                <a:lnTo>
                  <a:pt x="720" y="1557"/>
                </a:lnTo>
                <a:lnTo>
                  <a:pt x="740" y="1559"/>
                </a:lnTo>
                <a:lnTo>
                  <a:pt x="760" y="1561"/>
                </a:lnTo>
                <a:lnTo>
                  <a:pt x="780" y="1563"/>
                </a:lnTo>
                <a:lnTo>
                  <a:pt x="800" y="1564"/>
                </a:lnTo>
                <a:lnTo>
                  <a:pt x="821" y="1565"/>
                </a:lnTo>
                <a:lnTo>
                  <a:pt x="862" y="1565"/>
                </a:lnTo>
                <a:lnTo>
                  <a:pt x="882" y="1564"/>
                </a:lnTo>
                <a:lnTo>
                  <a:pt x="903" y="1563"/>
                </a:lnTo>
                <a:lnTo>
                  <a:pt x="923" y="1561"/>
                </a:lnTo>
                <a:lnTo>
                  <a:pt x="943" y="1559"/>
                </a:lnTo>
                <a:lnTo>
                  <a:pt x="984" y="1553"/>
                </a:lnTo>
                <a:lnTo>
                  <a:pt x="1004" y="1549"/>
                </a:lnTo>
                <a:lnTo>
                  <a:pt x="1024" y="1545"/>
                </a:lnTo>
                <a:lnTo>
                  <a:pt x="1044" y="1540"/>
                </a:lnTo>
                <a:lnTo>
                  <a:pt x="1064" y="1535"/>
                </a:lnTo>
                <a:lnTo>
                  <a:pt x="1084" y="1529"/>
                </a:lnTo>
                <a:lnTo>
                  <a:pt x="1104" y="1522"/>
                </a:lnTo>
                <a:lnTo>
                  <a:pt x="1143" y="1508"/>
                </a:lnTo>
                <a:lnTo>
                  <a:pt x="1163" y="1500"/>
                </a:lnTo>
                <a:lnTo>
                  <a:pt x="1182" y="1492"/>
                </a:lnTo>
                <a:lnTo>
                  <a:pt x="1202" y="1483"/>
                </a:lnTo>
                <a:lnTo>
                  <a:pt x="1221" y="1473"/>
                </a:lnTo>
                <a:lnTo>
                  <a:pt x="1240" y="1463"/>
                </a:lnTo>
                <a:lnTo>
                  <a:pt x="1259" y="1453"/>
                </a:lnTo>
                <a:lnTo>
                  <a:pt x="1105" y="1187"/>
                </a:lnTo>
                <a:lnTo>
                  <a:pt x="1080" y="1200"/>
                </a:lnTo>
                <a:lnTo>
                  <a:pt x="1067" y="1206"/>
                </a:lnTo>
                <a:lnTo>
                  <a:pt x="1055" y="1212"/>
                </a:lnTo>
                <a:lnTo>
                  <a:pt x="1029" y="1223"/>
                </a:lnTo>
                <a:lnTo>
                  <a:pt x="1016" y="1227"/>
                </a:lnTo>
                <a:lnTo>
                  <a:pt x="1004" y="1232"/>
                </a:lnTo>
                <a:lnTo>
                  <a:pt x="991" y="1236"/>
                </a:lnTo>
                <a:lnTo>
                  <a:pt x="978" y="1240"/>
                </a:lnTo>
                <a:lnTo>
                  <a:pt x="965" y="1243"/>
                </a:lnTo>
                <a:lnTo>
                  <a:pt x="952" y="1246"/>
                </a:lnTo>
                <a:lnTo>
                  <a:pt x="939" y="1248"/>
                </a:lnTo>
                <a:lnTo>
                  <a:pt x="926" y="1251"/>
                </a:lnTo>
                <a:lnTo>
                  <a:pt x="899" y="1254"/>
                </a:lnTo>
                <a:lnTo>
                  <a:pt x="873" y="1257"/>
                </a:lnTo>
                <a:lnTo>
                  <a:pt x="860" y="1257"/>
                </a:lnTo>
                <a:lnTo>
                  <a:pt x="847" y="1258"/>
                </a:lnTo>
                <a:lnTo>
                  <a:pt x="820" y="1257"/>
                </a:lnTo>
                <a:lnTo>
                  <a:pt x="794" y="1256"/>
                </a:lnTo>
                <a:lnTo>
                  <a:pt x="768" y="1253"/>
                </a:lnTo>
                <a:lnTo>
                  <a:pt x="756" y="1251"/>
                </a:lnTo>
                <a:lnTo>
                  <a:pt x="743" y="1249"/>
                </a:lnTo>
                <a:lnTo>
                  <a:pt x="730" y="1247"/>
                </a:lnTo>
                <a:lnTo>
                  <a:pt x="718" y="1244"/>
                </a:lnTo>
                <a:lnTo>
                  <a:pt x="693" y="1238"/>
                </a:lnTo>
                <a:lnTo>
                  <a:pt x="680" y="1234"/>
                </a:lnTo>
                <a:lnTo>
                  <a:pt x="668" y="1230"/>
                </a:lnTo>
                <a:lnTo>
                  <a:pt x="644" y="1222"/>
                </a:lnTo>
                <a:lnTo>
                  <a:pt x="632" y="1217"/>
                </a:lnTo>
                <a:lnTo>
                  <a:pt x="620" y="1212"/>
                </a:lnTo>
                <a:lnTo>
                  <a:pt x="597" y="1201"/>
                </a:lnTo>
                <a:lnTo>
                  <a:pt x="574" y="1189"/>
                </a:lnTo>
                <a:lnTo>
                  <a:pt x="552" y="1176"/>
                </a:lnTo>
                <a:lnTo>
                  <a:pt x="541" y="1170"/>
                </a:lnTo>
                <a:lnTo>
                  <a:pt x="531" y="1162"/>
                </a:lnTo>
                <a:lnTo>
                  <a:pt x="520" y="1155"/>
                </a:lnTo>
                <a:lnTo>
                  <a:pt x="510" y="1148"/>
                </a:lnTo>
                <a:lnTo>
                  <a:pt x="490" y="1132"/>
                </a:lnTo>
                <a:lnTo>
                  <a:pt x="471" y="1115"/>
                </a:lnTo>
                <a:lnTo>
                  <a:pt x="453" y="1097"/>
                </a:lnTo>
                <a:lnTo>
                  <a:pt x="444" y="1088"/>
                </a:lnTo>
                <a:lnTo>
                  <a:pt x="435" y="1078"/>
                </a:lnTo>
                <a:lnTo>
                  <a:pt x="418" y="1059"/>
                </a:lnTo>
                <a:lnTo>
                  <a:pt x="403" y="1038"/>
                </a:lnTo>
                <a:lnTo>
                  <a:pt x="395" y="1028"/>
                </a:lnTo>
                <a:lnTo>
                  <a:pt x="388" y="1017"/>
                </a:lnTo>
                <a:lnTo>
                  <a:pt x="381" y="1006"/>
                </a:lnTo>
                <a:lnTo>
                  <a:pt x="375" y="995"/>
                </a:lnTo>
                <a:close/>
                <a:moveTo>
                  <a:pt x="431" y="962"/>
                </a:moveTo>
                <a:lnTo>
                  <a:pt x="443" y="982"/>
                </a:lnTo>
                <a:lnTo>
                  <a:pt x="456" y="1000"/>
                </a:lnTo>
                <a:lnTo>
                  <a:pt x="469" y="1018"/>
                </a:lnTo>
                <a:lnTo>
                  <a:pt x="484" y="1035"/>
                </a:lnTo>
                <a:lnTo>
                  <a:pt x="499" y="1052"/>
                </a:lnTo>
                <a:lnTo>
                  <a:pt x="516" y="1067"/>
                </a:lnTo>
                <a:lnTo>
                  <a:pt x="532" y="1082"/>
                </a:lnTo>
                <a:lnTo>
                  <a:pt x="550" y="1096"/>
                </a:lnTo>
                <a:lnTo>
                  <a:pt x="568" y="1109"/>
                </a:lnTo>
                <a:lnTo>
                  <a:pt x="587" y="1121"/>
                </a:lnTo>
                <a:lnTo>
                  <a:pt x="597" y="1127"/>
                </a:lnTo>
                <a:lnTo>
                  <a:pt x="606" y="1133"/>
                </a:lnTo>
                <a:lnTo>
                  <a:pt x="626" y="1143"/>
                </a:lnTo>
                <a:lnTo>
                  <a:pt x="647" y="1153"/>
                </a:lnTo>
                <a:lnTo>
                  <a:pt x="667" y="1161"/>
                </a:lnTo>
                <a:lnTo>
                  <a:pt x="678" y="1165"/>
                </a:lnTo>
                <a:lnTo>
                  <a:pt x="689" y="1169"/>
                </a:lnTo>
                <a:lnTo>
                  <a:pt x="710" y="1175"/>
                </a:lnTo>
                <a:lnTo>
                  <a:pt x="721" y="1178"/>
                </a:lnTo>
                <a:lnTo>
                  <a:pt x="732" y="1181"/>
                </a:lnTo>
                <a:lnTo>
                  <a:pt x="743" y="1183"/>
                </a:lnTo>
                <a:lnTo>
                  <a:pt x="754" y="1185"/>
                </a:lnTo>
                <a:lnTo>
                  <a:pt x="777" y="1189"/>
                </a:lnTo>
                <a:lnTo>
                  <a:pt x="799" y="1191"/>
                </a:lnTo>
                <a:lnTo>
                  <a:pt x="811" y="1192"/>
                </a:lnTo>
                <a:lnTo>
                  <a:pt x="822" y="1193"/>
                </a:lnTo>
                <a:lnTo>
                  <a:pt x="846" y="1193"/>
                </a:lnTo>
                <a:lnTo>
                  <a:pt x="858" y="1193"/>
                </a:lnTo>
                <a:lnTo>
                  <a:pt x="869" y="1192"/>
                </a:lnTo>
                <a:lnTo>
                  <a:pt x="892" y="1190"/>
                </a:lnTo>
                <a:lnTo>
                  <a:pt x="904" y="1188"/>
                </a:lnTo>
                <a:lnTo>
                  <a:pt x="915" y="1187"/>
                </a:lnTo>
                <a:lnTo>
                  <a:pt x="938" y="1182"/>
                </a:lnTo>
                <a:lnTo>
                  <a:pt x="961" y="1177"/>
                </a:lnTo>
                <a:lnTo>
                  <a:pt x="984" y="1170"/>
                </a:lnTo>
                <a:lnTo>
                  <a:pt x="1006" y="1162"/>
                </a:lnTo>
                <a:lnTo>
                  <a:pt x="1028" y="1153"/>
                </a:lnTo>
                <a:lnTo>
                  <a:pt x="1039" y="1148"/>
                </a:lnTo>
                <a:lnTo>
                  <a:pt x="1050" y="1142"/>
                </a:lnTo>
                <a:lnTo>
                  <a:pt x="1072" y="1130"/>
                </a:lnTo>
                <a:lnTo>
                  <a:pt x="1093" y="1117"/>
                </a:lnTo>
                <a:lnTo>
                  <a:pt x="1104" y="1111"/>
                </a:lnTo>
                <a:lnTo>
                  <a:pt x="1114" y="1103"/>
                </a:lnTo>
                <a:lnTo>
                  <a:pt x="1133" y="1089"/>
                </a:lnTo>
                <a:lnTo>
                  <a:pt x="1151" y="1073"/>
                </a:lnTo>
                <a:lnTo>
                  <a:pt x="1160" y="1065"/>
                </a:lnTo>
                <a:lnTo>
                  <a:pt x="1169" y="1057"/>
                </a:lnTo>
                <a:lnTo>
                  <a:pt x="1185" y="1040"/>
                </a:lnTo>
                <a:lnTo>
                  <a:pt x="1200" y="1022"/>
                </a:lnTo>
                <a:lnTo>
                  <a:pt x="1215" y="1004"/>
                </a:lnTo>
                <a:lnTo>
                  <a:pt x="1228" y="985"/>
                </a:lnTo>
                <a:lnTo>
                  <a:pt x="1240" y="965"/>
                </a:lnTo>
                <a:lnTo>
                  <a:pt x="1246" y="955"/>
                </a:lnTo>
                <a:lnTo>
                  <a:pt x="1251" y="945"/>
                </a:lnTo>
                <a:lnTo>
                  <a:pt x="1262" y="925"/>
                </a:lnTo>
                <a:lnTo>
                  <a:pt x="1271" y="904"/>
                </a:lnTo>
                <a:lnTo>
                  <a:pt x="1279" y="883"/>
                </a:lnTo>
                <a:lnTo>
                  <a:pt x="1286" y="862"/>
                </a:lnTo>
                <a:lnTo>
                  <a:pt x="1292" y="840"/>
                </a:lnTo>
                <a:lnTo>
                  <a:pt x="1297" y="818"/>
                </a:lnTo>
                <a:lnTo>
                  <a:pt x="1301" y="796"/>
                </a:lnTo>
                <a:lnTo>
                  <a:pt x="1304" y="772"/>
                </a:lnTo>
                <a:lnTo>
                  <a:pt x="1306" y="750"/>
                </a:lnTo>
                <a:lnTo>
                  <a:pt x="1307" y="728"/>
                </a:lnTo>
                <a:lnTo>
                  <a:pt x="1307" y="705"/>
                </a:lnTo>
                <a:lnTo>
                  <a:pt x="1306" y="683"/>
                </a:lnTo>
                <a:lnTo>
                  <a:pt x="1303" y="661"/>
                </a:lnTo>
                <a:lnTo>
                  <a:pt x="1300" y="639"/>
                </a:lnTo>
                <a:lnTo>
                  <a:pt x="1296" y="617"/>
                </a:lnTo>
                <a:lnTo>
                  <a:pt x="1290" y="595"/>
                </a:lnTo>
                <a:lnTo>
                  <a:pt x="1284" y="573"/>
                </a:lnTo>
                <a:lnTo>
                  <a:pt x="1276" y="552"/>
                </a:lnTo>
                <a:lnTo>
                  <a:pt x="1272" y="542"/>
                </a:lnTo>
                <a:lnTo>
                  <a:pt x="1267" y="531"/>
                </a:lnTo>
                <a:lnTo>
                  <a:pt x="1262" y="521"/>
                </a:lnTo>
                <a:lnTo>
                  <a:pt x="1257" y="511"/>
                </a:lnTo>
                <a:lnTo>
                  <a:pt x="1247" y="491"/>
                </a:lnTo>
                <a:lnTo>
                  <a:pt x="1235" y="472"/>
                </a:lnTo>
                <a:lnTo>
                  <a:pt x="1222" y="453"/>
                </a:lnTo>
                <a:lnTo>
                  <a:pt x="1208" y="435"/>
                </a:lnTo>
                <a:lnTo>
                  <a:pt x="1194" y="418"/>
                </a:lnTo>
                <a:lnTo>
                  <a:pt x="1178" y="401"/>
                </a:lnTo>
                <a:lnTo>
                  <a:pt x="1162" y="386"/>
                </a:lnTo>
                <a:lnTo>
                  <a:pt x="1145" y="371"/>
                </a:lnTo>
                <a:lnTo>
                  <a:pt x="1128" y="357"/>
                </a:lnTo>
                <a:lnTo>
                  <a:pt x="1119" y="350"/>
                </a:lnTo>
                <a:lnTo>
                  <a:pt x="1110" y="344"/>
                </a:lnTo>
                <a:lnTo>
                  <a:pt x="1091" y="332"/>
                </a:lnTo>
                <a:lnTo>
                  <a:pt x="1082" y="326"/>
                </a:lnTo>
                <a:lnTo>
                  <a:pt x="1072" y="320"/>
                </a:lnTo>
                <a:lnTo>
                  <a:pt x="1052" y="310"/>
                </a:lnTo>
                <a:lnTo>
                  <a:pt x="1032" y="300"/>
                </a:lnTo>
                <a:lnTo>
                  <a:pt x="1011" y="292"/>
                </a:lnTo>
                <a:lnTo>
                  <a:pt x="1000" y="288"/>
                </a:lnTo>
                <a:lnTo>
                  <a:pt x="990" y="284"/>
                </a:lnTo>
                <a:lnTo>
                  <a:pt x="968" y="278"/>
                </a:lnTo>
                <a:lnTo>
                  <a:pt x="957" y="275"/>
                </a:lnTo>
                <a:lnTo>
                  <a:pt x="946" y="272"/>
                </a:lnTo>
                <a:lnTo>
                  <a:pt x="935" y="270"/>
                </a:lnTo>
                <a:lnTo>
                  <a:pt x="924" y="267"/>
                </a:lnTo>
                <a:lnTo>
                  <a:pt x="902" y="264"/>
                </a:lnTo>
                <a:lnTo>
                  <a:pt x="879" y="261"/>
                </a:lnTo>
                <a:lnTo>
                  <a:pt x="868" y="261"/>
                </a:lnTo>
                <a:lnTo>
                  <a:pt x="856" y="260"/>
                </a:lnTo>
                <a:lnTo>
                  <a:pt x="833" y="260"/>
                </a:lnTo>
                <a:lnTo>
                  <a:pt x="821" y="260"/>
                </a:lnTo>
                <a:lnTo>
                  <a:pt x="809" y="261"/>
                </a:lnTo>
                <a:lnTo>
                  <a:pt x="786" y="263"/>
                </a:lnTo>
                <a:lnTo>
                  <a:pt x="775" y="264"/>
                </a:lnTo>
                <a:lnTo>
                  <a:pt x="763" y="266"/>
                </a:lnTo>
                <a:lnTo>
                  <a:pt x="740" y="270"/>
                </a:lnTo>
                <a:lnTo>
                  <a:pt x="718" y="276"/>
                </a:lnTo>
                <a:lnTo>
                  <a:pt x="695" y="283"/>
                </a:lnTo>
                <a:lnTo>
                  <a:pt x="672" y="291"/>
                </a:lnTo>
                <a:lnTo>
                  <a:pt x="650" y="300"/>
                </a:lnTo>
                <a:lnTo>
                  <a:pt x="627" y="311"/>
                </a:lnTo>
                <a:lnTo>
                  <a:pt x="605" y="323"/>
                </a:lnTo>
                <a:lnTo>
                  <a:pt x="584" y="336"/>
                </a:lnTo>
                <a:lnTo>
                  <a:pt x="564" y="350"/>
                </a:lnTo>
                <a:lnTo>
                  <a:pt x="545" y="364"/>
                </a:lnTo>
                <a:lnTo>
                  <a:pt x="527" y="380"/>
                </a:lnTo>
                <a:lnTo>
                  <a:pt x="518" y="388"/>
                </a:lnTo>
                <a:lnTo>
                  <a:pt x="510" y="396"/>
                </a:lnTo>
                <a:lnTo>
                  <a:pt x="493" y="413"/>
                </a:lnTo>
                <a:lnTo>
                  <a:pt x="478" y="431"/>
                </a:lnTo>
                <a:lnTo>
                  <a:pt x="471" y="440"/>
                </a:lnTo>
                <a:lnTo>
                  <a:pt x="464" y="449"/>
                </a:lnTo>
                <a:lnTo>
                  <a:pt x="451" y="468"/>
                </a:lnTo>
                <a:lnTo>
                  <a:pt x="438" y="487"/>
                </a:lnTo>
                <a:lnTo>
                  <a:pt x="433" y="497"/>
                </a:lnTo>
                <a:lnTo>
                  <a:pt x="427" y="507"/>
                </a:lnTo>
                <a:lnTo>
                  <a:pt x="417" y="528"/>
                </a:lnTo>
                <a:lnTo>
                  <a:pt x="408" y="549"/>
                </a:lnTo>
                <a:lnTo>
                  <a:pt x="404" y="559"/>
                </a:lnTo>
                <a:lnTo>
                  <a:pt x="400" y="570"/>
                </a:lnTo>
                <a:lnTo>
                  <a:pt x="392" y="591"/>
                </a:lnTo>
                <a:lnTo>
                  <a:pt x="386" y="613"/>
                </a:lnTo>
                <a:lnTo>
                  <a:pt x="384" y="624"/>
                </a:lnTo>
                <a:lnTo>
                  <a:pt x="381" y="635"/>
                </a:lnTo>
                <a:lnTo>
                  <a:pt x="379" y="646"/>
                </a:lnTo>
                <a:lnTo>
                  <a:pt x="377" y="657"/>
                </a:lnTo>
                <a:lnTo>
                  <a:pt x="374" y="679"/>
                </a:lnTo>
                <a:lnTo>
                  <a:pt x="372" y="702"/>
                </a:lnTo>
                <a:lnTo>
                  <a:pt x="371" y="724"/>
                </a:lnTo>
                <a:lnTo>
                  <a:pt x="371" y="747"/>
                </a:lnTo>
                <a:lnTo>
                  <a:pt x="372" y="758"/>
                </a:lnTo>
                <a:lnTo>
                  <a:pt x="372" y="769"/>
                </a:lnTo>
                <a:lnTo>
                  <a:pt x="373" y="781"/>
                </a:lnTo>
                <a:lnTo>
                  <a:pt x="375" y="792"/>
                </a:lnTo>
                <a:lnTo>
                  <a:pt x="378" y="815"/>
                </a:lnTo>
                <a:lnTo>
                  <a:pt x="382" y="837"/>
                </a:lnTo>
                <a:lnTo>
                  <a:pt x="388" y="858"/>
                </a:lnTo>
                <a:lnTo>
                  <a:pt x="394" y="880"/>
                </a:lnTo>
                <a:lnTo>
                  <a:pt x="402" y="901"/>
                </a:lnTo>
                <a:lnTo>
                  <a:pt x="406" y="911"/>
                </a:lnTo>
                <a:lnTo>
                  <a:pt x="410" y="922"/>
                </a:lnTo>
                <a:lnTo>
                  <a:pt x="415" y="932"/>
                </a:lnTo>
                <a:lnTo>
                  <a:pt x="420" y="942"/>
                </a:lnTo>
                <a:lnTo>
                  <a:pt x="431" y="962"/>
                </a:lnTo>
                <a:close/>
                <a:moveTo>
                  <a:pt x="3652" y="820"/>
                </a:moveTo>
                <a:lnTo>
                  <a:pt x="3636" y="813"/>
                </a:lnTo>
                <a:lnTo>
                  <a:pt x="3621" y="807"/>
                </a:lnTo>
                <a:lnTo>
                  <a:pt x="3606" y="802"/>
                </a:lnTo>
                <a:lnTo>
                  <a:pt x="3593" y="799"/>
                </a:lnTo>
                <a:lnTo>
                  <a:pt x="3579" y="796"/>
                </a:lnTo>
                <a:lnTo>
                  <a:pt x="3564" y="795"/>
                </a:lnTo>
                <a:lnTo>
                  <a:pt x="3549" y="794"/>
                </a:lnTo>
                <a:lnTo>
                  <a:pt x="3533" y="793"/>
                </a:lnTo>
                <a:lnTo>
                  <a:pt x="3520" y="794"/>
                </a:lnTo>
                <a:lnTo>
                  <a:pt x="3507" y="795"/>
                </a:lnTo>
                <a:lnTo>
                  <a:pt x="3494" y="796"/>
                </a:lnTo>
                <a:lnTo>
                  <a:pt x="3488" y="797"/>
                </a:lnTo>
                <a:lnTo>
                  <a:pt x="3482" y="798"/>
                </a:lnTo>
                <a:lnTo>
                  <a:pt x="3470" y="801"/>
                </a:lnTo>
                <a:lnTo>
                  <a:pt x="3458" y="804"/>
                </a:lnTo>
                <a:lnTo>
                  <a:pt x="3447" y="808"/>
                </a:lnTo>
                <a:lnTo>
                  <a:pt x="3437" y="813"/>
                </a:lnTo>
                <a:lnTo>
                  <a:pt x="3426" y="818"/>
                </a:lnTo>
                <a:lnTo>
                  <a:pt x="3417" y="824"/>
                </a:lnTo>
                <a:lnTo>
                  <a:pt x="3407" y="830"/>
                </a:lnTo>
                <a:lnTo>
                  <a:pt x="3398" y="837"/>
                </a:lnTo>
                <a:lnTo>
                  <a:pt x="3389" y="844"/>
                </a:lnTo>
                <a:lnTo>
                  <a:pt x="3381" y="852"/>
                </a:lnTo>
                <a:lnTo>
                  <a:pt x="3373" y="860"/>
                </a:lnTo>
                <a:lnTo>
                  <a:pt x="3366" y="869"/>
                </a:lnTo>
                <a:lnTo>
                  <a:pt x="3359" y="878"/>
                </a:lnTo>
                <a:lnTo>
                  <a:pt x="3352" y="888"/>
                </a:lnTo>
                <a:lnTo>
                  <a:pt x="3346" y="899"/>
                </a:lnTo>
                <a:lnTo>
                  <a:pt x="3340" y="910"/>
                </a:lnTo>
                <a:lnTo>
                  <a:pt x="3335" y="921"/>
                </a:lnTo>
                <a:lnTo>
                  <a:pt x="3330" y="933"/>
                </a:lnTo>
                <a:lnTo>
                  <a:pt x="3325" y="945"/>
                </a:lnTo>
                <a:lnTo>
                  <a:pt x="3321" y="958"/>
                </a:lnTo>
                <a:lnTo>
                  <a:pt x="3318" y="971"/>
                </a:lnTo>
                <a:lnTo>
                  <a:pt x="3315" y="985"/>
                </a:lnTo>
                <a:lnTo>
                  <a:pt x="3312" y="999"/>
                </a:lnTo>
                <a:lnTo>
                  <a:pt x="3310" y="1013"/>
                </a:lnTo>
                <a:lnTo>
                  <a:pt x="3308" y="1028"/>
                </a:lnTo>
                <a:lnTo>
                  <a:pt x="3307" y="1044"/>
                </a:lnTo>
                <a:lnTo>
                  <a:pt x="3306" y="1059"/>
                </a:lnTo>
                <a:lnTo>
                  <a:pt x="3306" y="1076"/>
                </a:lnTo>
                <a:lnTo>
                  <a:pt x="3306" y="1478"/>
                </a:lnTo>
                <a:lnTo>
                  <a:pt x="3048" y="1478"/>
                </a:lnTo>
                <a:lnTo>
                  <a:pt x="3048" y="1024"/>
                </a:lnTo>
                <a:lnTo>
                  <a:pt x="3048" y="570"/>
                </a:lnTo>
                <a:lnTo>
                  <a:pt x="3297" y="570"/>
                </a:lnTo>
                <a:lnTo>
                  <a:pt x="3297" y="776"/>
                </a:lnTo>
                <a:lnTo>
                  <a:pt x="3300" y="764"/>
                </a:lnTo>
                <a:lnTo>
                  <a:pt x="3304" y="751"/>
                </a:lnTo>
                <a:lnTo>
                  <a:pt x="3308" y="739"/>
                </a:lnTo>
                <a:lnTo>
                  <a:pt x="3312" y="727"/>
                </a:lnTo>
                <a:lnTo>
                  <a:pt x="3317" y="716"/>
                </a:lnTo>
                <a:lnTo>
                  <a:pt x="3322" y="705"/>
                </a:lnTo>
                <a:lnTo>
                  <a:pt x="3327" y="694"/>
                </a:lnTo>
                <a:lnTo>
                  <a:pt x="3333" y="684"/>
                </a:lnTo>
                <a:lnTo>
                  <a:pt x="3339" y="674"/>
                </a:lnTo>
                <a:lnTo>
                  <a:pt x="3346" y="664"/>
                </a:lnTo>
                <a:lnTo>
                  <a:pt x="3352" y="655"/>
                </a:lnTo>
                <a:lnTo>
                  <a:pt x="3360" y="646"/>
                </a:lnTo>
                <a:lnTo>
                  <a:pt x="3367" y="638"/>
                </a:lnTo>
                <a:lnTo>
                  <a:pt x="3375" y="630"/>
                </a:lnTo>
                <a:lnTo>
                  <a:pt x="3383" y="622"/>
                </a:lnTo>
                <a:lnTo>
                  <a:pt x="3392" y="615"/>
                </a:lnTo>
                <a:lnTo>
                  <a:pt x="3396" y="611"/>
                </a:lnTo>
                <a:lnTo>
                  <a:pt x="3401" y="608"/>
                </a:lnTo>
                <a:lnTo>
                  <a:pt x="3410" y="601"/>
                </a:lnTo>
                <a:lnTo>
                  <a:pt x="3419" y="595"/>
                </a:lnTo>
                <a:lnTo>
                  <a:pt x="3429" y="590"/>
                </a:lnTo>
                <a:lnTo>
                  <a:pt x="3439" y="585"/>
                </a:lnTo>
                <a:lnTo>
                  <a:pt x="3450" y="580"/>
                </a:lnTo>
                <a:lnTo>
                  <a:pt x="3461" y="576"/>
                </a:lnTo>
                <a:lnTo>
                  <a:pt x="3472" y="572"/>
                </a:lnTo>
                <a:lnTo>
                  <a:pt x="3483" y="568"/>
                </a:lnTo>
                <a:lnTo>
                  <a:pt x="3495" y="565"/>
                </a:lnTo>
                <a:lnTo>
                  <a:pt x="3507" y="563"/>
                </a:lnTo>
                <a:lnTo>
                  <a:pt x="3519" y="561"/>
                </a:lnTo>
                <a:lnTo>
                  <a:pt x="3531" y="559"/>
                </a:lnTo>
                <a:lnTo>
                  <a:pt x="3544" y="558"/>
                </a:lnTo>
                <a:lnTo>
                  <a:pt x="3557" y="557"/>
                </a:lnTo>
                <a:lnTo>
                  <a:pt x="3571" y="557"/>
                </a:lnTo>
                <a:lnTo>
                  <a:pt x="3589" y="557"/>
                </a:lnTo>
                <a:lnTo>
                  <a:pt x="3599" y="558"/>
                </a:lnTo>
                <a:lnTo>
                  <a:pt x="3609" y="559"/>
                </a:lnTo>
                <a:lnTo>
                  <a:pt x="3629" y="562"/>
                </a:lnTo>
                <a:lnTo>
                  <a:pt x="3652" y="566"/>
                </a:lnTo>
                <a:lnTo>
                  <a:pt x="3652" y="820"/>
                </a:lnTo>
                <a:close/>
                <a:moveTo>
                  <a:pt x="4253" y="1478"/>
                </a:moveTo>
                <a:lnTo>
                  <a:pt x="4253" y="1275"/>
                </a:lnTo>
                <a:lnTo>
                  <a:pt x="4238" y="1278"/>
                </a:lnTo>
                <a:lnTo>
                  <a:pt x="4224" y="1281"/>
                </a:lnTo>
                <a:lnTo>
                  <a:pt x="4211" y="1283"/>
                </a:lnTo>
                <a:lnTo>
                  <a:pt x="4199" y="1284"/>
                </a:lnTo>
                <a:lnTo>
                  <a:pt x="4174" y="1286"/>
                </a:lnTo>
                <a:lnTo>
                  <a:pt x="4147" y="1286"/>
                </a:lnTo>
                <a:lnTo>
                  <a:pt x="4125" y="1286"/>
                </a:lnTo>
                <a:lnTo>
                  <a:pt x="4116" y="1285"/>
                </a:lnTo>
                <a:lnTo>
                  <a:pt x="4106" y="1284"/>
                </a:lnTo>
                <a:lnTo>
                  <a:pt x="4089" y="1281"/>
                </a:lnTo>
                <a:lnTo>
                  <a:pt x="4081" y="1280"/>
                </a:lnTo>
                <a:lnTo>
                  <a:pt x="4074" y="1278"/>
                </a:lnTo>
                <a:lnTo>
                  <a:pt x="4066" y="1275"/>
                </a:lnTo>
                <a:lnTo>
                  <a:pt x="4060" y="1272"/>
                </a:lnTo>
                <a:lnTo>
                  <a:pt x="4053" y="1269"/>
                </a:lnTo>
                <a:lnTo>
                  <a:pt x="4047" y="1266"/>
                </a:lnTo>
                <a:lnTo>
                  <a:pt x="4042" y="1262"/>
                </a:lnTo>
                <a:lnTo>
                  <a:pt x="4036" y="1258"/>
                </a:lnTo>
                <a:lnTo>
                  <a:pt x="4031" y="1253"/>
                </a:lnTo>
                <a:lnTo>
                  <a:pt x="4027" y="1248"/>
                </a:lnTo>
                <a:lnTo>
                  <a:pt x="4022" y="1243"/>
                </a:lnTo>
                <a:lnTo>
                  <a:pt x="4019" y="1238"/>
                </a:lnTo>
                <a:lnTo>
                  <a:pt x="4012" y="1225"/>
                </a:lnTo>
                <a:lnTo>
                  <a:pt x="4009" y="1218"/>
                </a:lnTo>
                <a:lnTo>
                  <a:pt x="4006" y="1211"/>
                </a:lnTo>
                <a:lnTo>
                  <a:pt x="4004" y="1203"/>
                </a:lnTo>
                <a:lnTo>
                  <a:pt x="4001" y="1195"/>
                </a:lnTo>
                <a:lnTo>
                  <a:pt x="3998" y="1178"/>
                </a:lnTo>
                <a:lnTo>
                  <a:pt x="3997" y="1168"/>
                </a:lnTo>
                <a:lnTo>
                  <a:pt x="3996" y="1158"/>
                </a:lnTo>
                <a:lnTo>
                  <a:pt x="3994" y="1137"/>
                </a:lnTo>
                <a:lnTo>
                  <a:pt x="3994" y="1114"/>
                </a:lnTo>
                <a:lnTo>
                  <a:pt x="3994" y="775"/>
                </a:lnTo>
                <a:lnTo>
                  <a:pt x="4242" y="775"/>
                </a:lnTo>
                <a:lnTo>
                  <a:pt x="4242" y="574"/>
                </a:lnTo>
                <a:lnTo>
                  <a:pt x="3994" y="574"/>
                </a:lnTo>
                <a:lnTo>
                  <a:pt x="3994" y="280"/>
                </a:lnTo>
                <a:lnTo>
                  <a:pt x="3736" y="426"/>
                </a:lnTo>
                <a:lnTo>
                  <a:pt x="3736" y="1160"/>
                </a:lnTo>
                <a:lnTo>
                  <a:pt x="3736" y="1182"/>
                </a:lnTo>
                <a:lnTo>
                  <a:pt x="3737" y="1202"/>
                </a:lnTo>
                <a:lnTo>
                  <a:pt x="3739" y="1222"/>
                </a:lnTo>
                <a:lnTo>
                  <a:pt x="3741" y="1241"/>
                </a:lnTo>
                <a:lnTo>
                  <a:pt x="3742" y="1251"/>
                </a:lnTo>
                <a:lnTo>
                  <a:pt x="3744" y="1260"/>
                </a:lnTo>
                <a:lnTo>
                  <a:pt x="3747" y="1278"/>
                </a:lnTo>
                <a:lnTo>
                  <a:pt x="3751" y="1295"/>
                </a:lnTo>
                <a:lnTo>
                  <a:pt x="3756" y="1311"/>
                </a:lnTo>
                <a:lnTo>
                  <a:pt x="3762" y="1326"/>
                </a:lnTo>
                <a:lnTo>
                  <a:pt x="3768" y="1341"/>
                </a:lnTo>
                <a:lnTo>
                  <a:pt x="3775" y="1355"/>
                </a:lnTo>
                <a:lnTo>
                  <a:pt x="3782" y="1369"/>
                </a:lnTo>
                <a:lnTo>
                  <a:pt x="3790" y="1381"/>
                </a:lnTo>
                <a:lnTo>
                  <a:pt x="3799" y="1393"/>
                </a:lnTo>
                <a:lnTo>
                  <a:pt x="3804" y="1399"/>
                </a:lnTo>
                <a:lnTo>
                  <a:pt x="3809" y="1405"/>
                </a:lnTo>
                <a:lnTo>
                  <a:pt x="3814" y="1410"/>
                </a:lnTo>
                <a:lnTo>
                  <a:pt x="3819" y="1415"/>
                </a:lnTo>
                <a:lnTo>
                  <a:pt x="3830" y="1425"/>
                </a:lnTo>
                <a:lnTo>
                  <a:pt x="3842" y="1434"/>
                </a:lnTo>
                <a:lnTo>
                  <a:pt x="3854" y="1443"/>
                </a:lnTo>
                <a:lnTo>
                  <a:pt x="3867" y="1451"/>
                </a:lnTo>
                <a:lnTo>
                  <a:pt x="3881" y="1458"/>
                </a:lnTo>
                <a:lnTo>
                  <a:pt x="3896" y="1465"/>
                </a:lnTo>
                <a:lnTo>
                  <a:pt x="3911" y="1470"/>
                </a:lnTo>
                <a:lnTo>
                  <a:pt x="3919" y="1473"/>
                </a:lnTo>
                <a:lnTo>
                  <a:pt x="3927" y="1476"/>
                </a:lnTo>
                <a:lnTo>
                  <a:pt x="3944" y="1480"/>
                </a:lnTo>
                <a:lnTo>
                  <a:pt x="3961" y="1484"/>
                </a:lnTo>
                <a:lnTo>
                  <a:pt x="3979" y="1488"/>
                </a:lnTo>
                <a:lnTo>
                  <a:pt x="3998" y="1491"/>
                </a:lnTo>
                <a:lnTo>
                  <a:pt x="4018" y="1493"/>
                </a:lnTo>
                <a:lnTo>
                  <a:pt x="4038" y="1494"/>
                </a:lnTo>
                <a:lnTo>
                  <a:pt x="4060" y="1495"/>
                </a:lnTo>
                <a:lnTo>
                  <a:pt x="4082" y="1495"/>
                </a:lnTo>
                <a:lnTo>
                  <a:pt x="4104" y="1495"/>
                </a:lnTo>
                <a:lnTo>
                  <a:pt x="4125" y="1495"/>
                </a:lnTo>
                <a:lnTo>
                  <a:pt x="4146" y="1493"/>
                </a:lnTo>
                <a:lnTo>
                  <a:pt x="4167" y="1492"/>
                </a:lnTo>
                <a:lnTo>
                  <a:pt x="4187" y="1490"/>
                </a:lnTo>
                <a:lnTo>
                  <a:pt x="4208" y="1487"/>
                </a:lnTo>
                <a:lnTo>
                  <a:pt x="4230" y="1483"/>
                </a:lnTo>
                <a:lnTo>
                  <a:pt x="4253" y="1478"/>
                </a:lnTo>
                <a:close/>
                <a:moveTo>
                  <a:pt x="2979" y="1024"/>
                </a:moveTo>
                <a:lnTo>
                  <a:pt x="2978" y="1050"/>
                </a:lnTo>
                <a:lnTo>
                  <a:pt x="2976" y="1075"/>
                </a:lnTo>
                <a:lnTo>
                  <a:pt x="2974" y="1100"/>
                </a:lnTo>
                <a:lnTo>
                  <a:pt x="2970" y="1125"/>
                </a:lnTo>
                <a:lnTo>
                  <a:pt x="2966" y="1149"/>
                </a:lnTo>
                <a:lnTo>
                  <a:pt x="2960" y="1172"/>
                </a:lnTo>
                <a:lnTo>
                  <a:pt x="2954" y="1195"/>
                </a:lnTo>
                <a:lnTo>
                  <a:pt x="2950" y="1206"/>
                </a:lnTo>
                <a:lnTo>
                  <a:pt x="2946" y="1217"/>
                </a:lnTo>
                <a:lnTo>
                  <a:pt x="2938" y="1238"/>
                </a:lnTo>
                <a:lnTo>
                  <a:pt x="2928" y="1259"/>
                </a:lnTo>
                <a:lnTo>
                  <a:pt x="2918" y="1279"/>
                </a:lnTo>
                <a:lnTo>
                  <a:pt x="2907" y="1299"/>
                </a:lnTo>
                <a:lnTo>
                  <a:pt x="2896" y="1317"/>
                </a:lnTo>
                <a:lnTo>
                  <a:pt x="2883" y="1335"/>
                </a:lnTo>
                <a:lnTo>
                  <a:pt x="2876" y="1344"/>
                </a:lnTo>
                <a:lnTo>
                  <a:pt x="2870" y="1352"/>
                </a:lnTo>
                <a:lnTo>
                  <a:pt x="2863" y="1360"/>
                </a:lnTo>
                <a:lnTo>
                  <a:pt x="2855" y="1368"/>
                </a:lnTo>
                <a:lnTo>
                  <a:pt x="2848" y="1376"/>
                </a:lnTo>
                <a:lnTo>
                  <a:pt x="2840" y="1384"/>
                </a:lnTo>
                <a:lnTo>
                  <a:pt x="2833" y="1391"/>
                </a:lnTo>
                <a:lnTo>
                  <a:pt x="2825" y="1399"/>
                </a:lnTo>
                <a:lnTo>
                  <a:pt x="2817" y="1406"/>
                </a:lnTo>
                <a:lnTo>
                  <a:pt x="2808" y="1412"/>
                </a:lnTo>
                <a:lnTo>
                  <a:pt x="2791" y="1425"/>
                </a:lnTo>
                <a:lnTo>
                  <a:pt x="2783" y="1431"/>
                </a:lnTo>
                <a:lnTo>
                  <a:pt x="2774" y="1437"/>
                </a:lnTo>
                <a:lnTo>
                  <a:pt x="2755" y="1448"/>
                </a:lnTo>
                <a:lnTo>
                  <a:pt x="2746" y="1453"/>
                </a:lnTo>
                <a:lnTo>
                  <a:pt x="2736" y="1458"/>
                </a:lnTo>
                <a:lnTo>
                  <a:pt x="2716" y="1467"/>
                </a:lnTo>
                <a:lnTo>
                  <a:pt x="2696" y="1476"/>
                </a:lnTo>
                <a:lnTo>
                  <a:pt x="2686" y="1479"/>
                </a:lnTo>
                <a:lnTo>
                  <a:pt x="2675" y="1483"/>
                </a:lnTo>
                <a:lnTo>
                  <a:pt x="2665" y="1486"/>
                </a:lnTo>
                <a:lnTo>
                  <a:pt x="2654" y="1489"/>
                </a:lnTo>
                <a:lnTo>
                  <a:pt x="2632" y="1494"/>
                </a:lnTo>
                <a:lnTo>
                  <a:pt x="2609" y="1498"/>
                </a:lnTo>
                <a:lnTo>
                  <a:pt x="2598" y="1499"/>
                </a:lnTo>
                <a:lnTo>
                  <a:pt x="2586" y="1501"/>
                </a:lnTo>
                <a:lnTo>
                  <a:pt x="2563" y="1502"/>
                </a:lnTo>
                <a:lnTo>
                  <a:pt x="2551" y="1503"/>
                </a:lnTo>
                <a:lnTo>
                  <a:pt x="2539" y="1503"/>
                </a:lnTo>
                <a:lnTo>
                  <a:pt x="2513" y="1502"/>
                </a:lnTo>
                <a:lnTo>
                  <a:pt x="2501" y="1502"/>
                </a:lnTo>
                <a:lnTo>
                  <a:pt x="2488" y="1501"/>
                </a:lnTo>
                <a:lnTo>
                  <a:pt x="2475" y="1500"/>
                </a:lnTo>
                <a:lnTo>
                  <a:pt x="2462" y="1498"/>
                </a:lnTo>
                <a:lnTo>
                  <a:pt x="2439" y="1494"/>
                </a:lnTo>
                <a:lnTo>
                  <a:pt x="2415" y="1489"/>
                </a:lnTo>
                <a:lnTo>
                  <a:pt x="2393" y="1484"/>
                </a:lnTo>
                <a:lnTo>
                  <a:pt x="2382" y="1480"/>
                </a:lnTo>
                <a:lnTo>
                  <a:pt x="2371" y="1477"/>
                </a:lnTo>
                <a:lnTo>
                  <a:pt x="2350" y="1469"/>
                </a:lnTo>
                <a:lnTo>
                  <a:pt x="2329" y="1460"/>
                </a:lnTo>
                <a:lnTo>
                  <a:pt x="2319" y="1455"/>
                </a:lnTo>
                <a:lnTo>
                  <a:pt x="2309" y="1450"/>
                </a:lnTo>
                <a:lnTo>
                  <a:pt x="2290" y="1440"/>
                </a:lnTo>
                <a:lnTo>
                  <a:pt x="2272" y="1428"/>
                </a:lnTo>
                <a:lnTo>
                  <a:pt x="2254" y="1415"/>
                </a:lnTo>
                <a:lnTo>
                  <a:pt x="2246" y="1409"/>
                </a:lnTo>
                <a:lnTo>
                  <a:pt x="2237" y="1402"/>
                </a:lnTo>
                <a:lnTo>
                  <a:pt x="2221" y="1388"/>
                </a:lnTo>
                <a:lnTo>
                  <a:pt x="2206" y="1372"/>
                </a:lnTo>
                <a:lnTo>
                  <a:pt x="2199" y="1364"/>
                </a:lnTo>
                <a:lnTo>
                  <a:pt x="2192" y="1356"/>
                </a:lnTo>
                <a:lnTo>
                  <a:pt x="2185" y="1348"/>
                </a:lnTo>
                <a:lnTo>
                  <a:pt x="2178" y="1339"/>
                </a:lnTo>
                <a:lnTo>
                  <a:pt x="2172" y="1330"/>
                </a:lnTo>
                <a:lnTo>
                  <a:pt x="2166" y="1321"/>
                </a:lnTo>
                <a:lnTo>
                  <a:pt x="2154" y="1303"/>
                </a:lnTo>
                <a:lnTo>
                  <a:pt x="2143" y="1283"/>
                </a:lnTo>
                <a:lnTo>
                  <a:pt x="2138" y="1273"/>
                </a:lnTo>
                <a:lnTo>
                  <a:pt x="2133" y="1263"/>
                </a:lnTo>
                <a:lnTo>
                  <a:pt x="2124" y="1242"/>
                </a:lnTo>
                <a:lnTo>
                  <a:pt x="2115" y="1220"/>
                </a:lnTo>
                <a:lnTo>
                  <a:pt x="2108" y="1197"/>
                </a:lnTo>
                <a:lnTo>
                  <a:pt x="2101" y="1174"/>
                </a:lnTo>
                <a:lnTo>
                  <a:pt x="2096" y="1150"/>
                </a:lnTo>
                <a:lnTo>
                  <a:pt x="2094" y="1138"/>
                </a:lnTo>
                <a:lnTo>
                  <a:pt x="2092" y="1125"/>
                </a:lnTo>
                <a:lnTo>
                  <a:pt x="2088" y="1100"/>
                </a:lnTo>
                <a:lnTo>
                  <a:pt x="2085" y="1074"/>
                </a:lnTo>
                <a:lnTo>
                  <a:pt x="2085" y="1061"/>
                </a:lnTo>
                <a:lnTo>
                  <a:pt x="2084" y="1047"/>
                </a:lnTo>
                <a:lnTo>
                  <a:pt x="2083" y="1020"/>
                </a:lnTo>
                <a:lnTo>
                  <a:pt x="2084" y="995"/>
                </a:lnTo>
                <a:lnTo>
                  <a:pt x="2085" y="983"/>
                </a:lnTo>
                <a:lnTo>
                  <a:pt x="2085" y="970"/>
                </a:lnTo>
                <a:lnTo>
                  <a:pt x="2088" y="946"/>
                </a:lnTo>
                <a:lnTo>
                  <a:pt x="2092" y="922"/>
                </a:lnTo>
                <a:lnTo>
                  <a:pt x="2096" y="899"/>
                </a:lnTo>
                <a:lnTo>
                  <a:pt x="2102" y="876"/>
                </a:lnTo>
                <a:lnTo>
                  <a:pt x="2108" y="854"/>
                </a:lnTo>
                <a:lnTo>
                  <a:pt x="2116" y="832"/>
                </a:lnTo>
                <a:lnTo>
                  <a:pt x="2124" y="811"/>
                </a:lnTo>
                <a:lnTo>
                  <a:pt x="2133" y="791"/>
                </a:lnTo>
                <a:lnTo>
                  <a:pt x="2138" y="781"/>
                </a:lnTo>
                <a:lnTo>
                  <a:pt x="2144" y="770"/>
                </a:lnTo>
                <a:lnTo>
                  <a:pt x="2155" y="751"/>
                </a:lnTo>
                <a:lnTo>
                  <a:pt x="2160" y="742"/>
                </a:lnTo>
                <a:lnTo>
                  <a:pt x="2166" y="732"/>
                </a:lnTo>
                <a:lnTo>
                  <a:pt x="2173" y="723"/>
                </a:lnTo>
                <a:lnTo>
                  <a:pt x="2179" y="715"/>
                </a:lnTo>
                <a:lnTo>
                  <a:pt x="2193" y="698"/>
                </a:lnTo>
                <a:lnTo>
                  <a:pt x="2207" y="681"/>
                </a:lnTo>
                <a:lnTo>
                  <a:pt x="2222" y="666"/>
                </a:lnTo>
                <a:lnTo>
                  <a:pt x="2238" y="651"/>
                </a:lnTo>
                <a:lnTo>
                  <a:pt x="2255" y="637"/>
                </a:lnTo>
                <a:lnTo>
                  <a:pt x="2272" y="624"/>
                </a:lnTo>
                <a:lnTo>
                  <a:pt x="2290" y="612"/>
                </a:lnTo>
                <a:lnTo>
                  <a:pt x="2309" y="601"/>
                </a:lnTo>
                <a:lnTo>
                  <a:pt x="2329" y="591"/>
                </a:lnTo>
                <a:lnTo>
                  <a:pt x="2349" y="582"/>
                </a:lnTo>
                <a:lnTo>
                  <a:pt x="2359" y="577"/>
                </a:lnTo>
                <a:lnTo>
                  <a:pt x="2370" y="573"/>
                </a:lnTo>
                <a:lnTo>
                  <a:pt x="2391" y="566"/>
                </a:lnTo>
                <a:lnTo>
                  <a:pt x="2413" y="560"/>
                </a:lnTo>
                <a:lnTo>
                  <a:pt x="2436" y="555"/>
                </a:lnTo>
                <a:lnTo>
                  <a:pt x="2447" y="553"/>
                </a:lnTo>
                <a:lnTo>
                  <a:pt x="2459" y="551"/>
                </a:lnTo>
                <a:lnTo>
                  <a:pt x="2471" y="549"/>
                </a:lnTo>
                <a:lnTo>
                  <a:pt x="2483" y="548"/>
                </a:lnTo>
                <a:lnTo>
                  <a:pt x="2508" y="546"/>
                </a:lnTo>
                <a:lnTo>
                  <a:pt x="2521" y="546"/>
                </a:lnTo>
                <a:lnTo>
                  <a:pt x="2533" y="545"/>
                </a:lnTo>
                <a:lnTo>
                  <a:pt x="2559" y="546"/>
                </a:lnTo>
                <a:lnTo>
                  <a:pt x="2585" y="548"/>
                </a:lnTo>
                <a:lnTo>
                  <a:pt x="2610" y="551"/>
                </a:lnTo>
                <a:lnTo>
                  <a:pt x="2634" y="554"/>
                </a:lnTo>
                <a:lnTo>
                  <a:pt x="2657" y="559"/>
                </a:lnTo>
                <a:lnTo>
                  <a:pt x="2679" y="566"/>
                </a:lnTo>
                <a:lnTo>
                  <a:pt x="2701" y="573"/>
                </a:lnTo>
                <a:lnTo>
                  <a:pt x="2722" y="581"/>
                </a:lnTo>
                <a:lnTo>
                  <a:pt x="2742" y="590"/>
                </a:lnTo>
                <a:lnTo>
                  <a:pt x="2762" y="600"/>
                </a:lnTo>
                <a:lnTo>
                  <a:pt x="2780" y="611"/>
                </a:lnTo>
                <a:lnTo>
                  <a:pt x="2798" y="623"/>
                </a:lnTo>
                <a:lnTo>
                  <a:pt x="2815" y="636"/>
                </a:lnTo>
                <a:lnTo>
                  <a:pt x="2832" y="650"/>
                </a:lnTo>
                <a:lnTo>
                  <a:pt x="2847" y="664"/>
                </a:lnTo>
                <a:lnTo>
                  <a:pt x="2862" y="680"/>
                </a:lnTo>
                <a:lnTo>
                  <a:pt x="2876" y="696"/>
                </a:lnTo>
                <a:lnTo>
                  <a:pt x="2889" y="713"/>
                </a:lnTo>
                <a:lnTo>
                  <a:pt x="2901" y="731"/>
                </a:lnTo>
                <a:lnTo>
                  <a:pt x="2907" y="740"/>
                </a:lnTo>
                <a:lnTo>
                  <a:pt x="2912" y="749"/>
                </a:lnTo>
                <a:lnTo>
                  <a:pt x="2917" y="759"/>
                </a:lnTo>
                <a:lnTo>
                  <a:pt x="2923" y="769"/>
                </a:lnTo>
                <a:lnTo>
                  <a:pt x="2932" y="790"/>
                </a:lnTo>
                <a:lnTo>
                  <a:pt x="2941" y="810"/>
                </a:lnTo>
                <a:lnTo>
                  <a:pt x="2949" y="832"/>
                </a:lnTo>
                <a:lnTo>
                  <a:pt x="2956" y="854"/>
                </a:lnTo>
                <a:lnTo>
                  <a:pt x="2962" y="876"/>
                </a:lnTo>
                <a:lnTo>
                  <a:pt x="2967" y="899"/>
                </a:lnTo>
                <a:lnTo>
                  <a:pt x="2971" y="923"/>
                </a:lnTo>
                <a:lnTo>
                  <a:pt x="2974" y="948"/>
                </a:lnTo>
                <a:lnTo>
                  <a:pt x="2977" y="972"/>
                </a:lnTo>
                <a:lnTo>
                  <a:pt x="2978" y="998"/>
                </a:lnTo>
                <a:lnTo>
                  <a:pt x="2979" y="1024"/>
                </a:lnTo>
                <a:close/>
                <a:moveTo>
                  <a:pt x="2718" y="1022"/>
                </a:moveTo>
                <a:lnTo>
                  <a:pt x="2718" y="1007"/>
                </a:lnTo>
                <a:lnTo>
                  <a:pt x="2717" y="992"/>
                </a:lnTo>
                <a:lnTo>
                  <a:pt x="2716" y="978"/>
                </a:lnTo>
                <a:lnTo>
                  <a:pt x="2715" y="964"/>
                </a:lnTo>
                <a:lnTo>
                  <a:pt x="2713" y="951"/>
                </a:lnTo>
                <a:lnTo>
                  <a:pt x="2711" y="938"/>
                </a:lnTo>
                <a:lnTo>
                  <a:pt x="2709" y="926"/>
                </a:lnTo>
                <a:lnTo>
                  <a:pt x="2706" y="913"/>
                </a:lnTo>
                <a:lnTo>
                  <a:pt x="2702" y="902"/>
                </a:lnTo>
                <a:lnTo>
                  <a:pt x="2699" y="890"/>
                </a:lnTo>
                <a:lnTo>
                  <a:pt x="2695" y="880"/>
                </a:lnTo>
                <a:lnTo>
                  <a:pt x="2690" y="869"/>
                </a:lnTo>
                <a:lnTo>
                  <a:pt x="2685" y="859"/>
                </a:lnTo>
                <a:lnTo>
                  <a:pt x="2680" y="850"/>
                </a:lnTo>
                <a:lnTo>
                  <a:pt x="2675" y="841"/>
                </a:lnTo>
                <a:lnTo>
                  <a:pt x="2669" y="832"/>
                </a:lnTo>
                <a:lnTo>
                  <a:pt x="2663" y="824"/>
                </a:lnTo>
                <a:lnTo>
                  <a:pt x="2657" y="816"/>
                </a:lnTo>
                <a:lnTo>
                  <a:pt x="2650" y="809"/>
                </a:lnTo>
                <a:lnTo>
                  <a:pt x="2643" y="802"/>
                </a:lnTo>
                <a:lnTo>
                  <a:pt x="2635" y="796"/>
                </a:lnTo>
                <a:lnTo>
                  <a:pt x="2627" y="791"/>
                </a:lnTo>
                <a:lnTo>
                  <a:pt x="2619" y="785"/>
                </a:lnTo>
                <a:lnTo>
                  <a:pt x="2611" y="781"/>
                </a:lnTo>
                <a:lnTo>
                  <a:pt x="2602" y="776"/>
                </a:lnTo>
                <a:lnTo>
                  <a:pt x="2593" y="772"/>
                </a:lnTo>
                <a:lnTo>
                  <a:pt x="2584" y="769"/>
                </a:lnTo>
                <a:lnTo>
                  <a:pt x="2574" y="767"/>
                </a:lnTo>
                <a:lnTo>
                  <a:pt x="2565" y="765"/>
                </a:lnTo>
                <a:lnTo>
                  <a:pt x="2554" y="763"/>
                </a:lnTo>
                <a:lnTo>
                  <a:pt x="2544" y="762"/>
                </a:lnTo>
                <a:lnTo>
                  <a:pt x="2533" y="762"/>
                </a:lnTo>
                <a:lnTo>
                  <a:pt x="2523" y="762"/>
                </a:lnTo>
                <a:lnTo>
                  <a:pt x="2512" y="763"/>
                </a:lnTo>
                <a:lnTo>
                  <a:pt x="2502" y="765"/>
                </a:lnTo>
                <a:lnTo>
                  <a:pt x="2492" y="767"/>
                </a:lnTo>
                <a:lnTo>
                  <a:pt x="2481" y="769"/>
                </a:lnTo>
                <a:lnTo>
                  <a:pt x="2472" y="772"/>
                </a:lnTo>
                <a:lnTo>
                  <a:pt x="2463" y="776"/>
                </a:lnTo>
                <a:lnTo>
                  <a:pt x="2454" y="781"/>
                </a:lnTo>
                <a:lnTo>
                  <a:pt x="2446" y="786"/>
                </a:lnTo>
                <a:lnTo>
                  <a:pt x="2437" y="791"/>
                </a:lnTo>
                <a:lnTo>
                  <a:pt x="2429" y="797"/>
                </a:lnTo>
                <a:lnTo>
                  <a:pt x="2422" y="803"/>
                </a:lnTo>
                <a:lnTo>
                  <a:pt x="2415" y="810"/>
                </a:lnTo>
                <a:lnTo>
                  <a:pt x="2408" y="817"/>
                </a:lnTo>
                <a:lnTo>
                  <a:pt x="2401" y="825"/>
                </a:lnTo>
                <a:lnTo>
                  <a:pt x="2395" y="833"/>
                </a:lnTo>
                <a:lnTo>
                  <a:pt x="2389" y="842"/>
                </a:lnTo>
                <a:lnTo>
                  <a:pt x="2383" y="851"/>
                </a:lnTo>
                <a:lnTo>
                  <a:pt x="2378" y="860"/>
                </a:lnTo>
                <a:lnTo>
                  <a:pt x="2373" y="870"/>
                </a:lnTo>
                <a:lnTo>
                  <a:pt x="2368" y="881"/>
                </a:lnTo>
                <a:lnTo>
                  <a:pt x="2364" y="891"/>
                </a:lnTo>
                <a:lnTo>
                  <a:pt x="2360" y="903"/>
                </a:lnTo>
                <a:lnTo>
                  <a:pt x="2357" y="914"/>
                </a:lnTo>
                <a:lnTo>
                  <a:pt x="2354" y="926"/>
                </a:lnTo>
                <a:lnTo>
                  <a:pt x="2351" y="939"/>
                </a:lnTo>
                <a:lnTo>
                  <a:pt x="2349" y="951"/>
                </a:lnTo>
                <a:lnTo>
                  <a:pt x="2347" y="964"/>
                </a:lnTo>
                <a:lnTo>
                  <a:pt x="2346" y="978"/>
                </a:lnTo>
                <a:lnTo>
                  <a:pt x="2344" y="991"/>
                </a:lnTo>
                <a:lnTo>
                  <a:pt x="2344" y="1005"/>
                </a:lnTo>
                <a:lnTo>
                  <a:pt x="2344" y="1020"/>
                </a:lnTo>
                <a:lnTo>
                  <a:pt x="2344" y="1034"/>
                </a:lnTo>
                <a:lnTo>
                  <a:pt x="2344" y="1049"/>
                </a:lnTo>
                <a:lnTo>
                  <a:pt x="2346" y="1063"/>
                </a:lnTo>
                <a:lnTo>
                  <a:pt x="2347" y="1076"/>
                </a:lnTo>
                <a:lnTo>
                  <a:pt x="2349" y="1090"/>
                </a:lnTo>
                <a:lnTo>
                  <a:pt x="2351" y="1103"/>
                </a:lnTo>
                <a:lnTo>
                  <a:pt x="2357" y="1127"/>
                </a:lnTo>
                <a:lnTo>
                  <a:pt x="2361" y="1139"/>
                </a:lnTo>
                <a:lnTo>
                  <a:pt x="2365" y="1150"/>
                </a:lnTo>
                <a:lnTo>
                  <a:pt x="2369" y="1162"/>
                </a:lnTo>
                <a:lnTo>
                  <a:pt x="2374" y="1172"/>
                </a:lnTo>
                <a:lnTo>
                  <a:pt x="2379" y="1182"/>
                </a:lnTo>
                <a:lnTo>
                  <a:pt x="2384" y="1192"/>
                </a:lnTo>
                <a:lnTo>
                  <a:pt x="2396" y="1210"/>
                </a:lnTo>
                <a:lnTo>
                  <a:pt x="2402" y="1219"/>
                </a:lnTo>
                <a:lnTo>
                  <a:pt x="2409" y="1227"/>
                </a:lnTo>
                <a:lnTo>
                  <a:pt x="2416" y="1234"/>
                </a:lnTo>
                <a:lnTo>
                  <a:pt x="2424" y="1241"/>
                </a:lnTo>
                <a:lnTo>
                  <a:pt x="2431" y="1247"/>
                </a:lnTo>
                <a:lnTo>
                  <a:pt x="2439" y="1253"/>
                </a:lnTo>
                <a:lnTo>
                  <a:pt x="2448" y="1259"/>
                </a:lnTo>
                <a:lnTo>
                  <a:pt x="2457" y="1264"/>
                </a:lnTo>
                <a:lnTo>
                  <a:pt x="2465" y="1268"/>
                </a:lnTo>
                <a:lnTo>
                  <a:pt x="2475" y="1272"/>
                </a:lnTo>
                <a:lnTo>
                  <a:pt x="2484" y="1275"/>
                </a:lnTo>
                <a:lnTo>
                  <a:pt x="2495" y="1278"/>
                </a:lnTo>
                <a:lnTo>
                  <a:pt x="2505" y="1280"/>
                </a:lnTo>
                <a:lnTo>
                  <a:pt x="2516" y="1281"/>
                </a:lnTo>
                <a:lnTo>
                  <a:pt x="2526" y="1282"/>
                </a:lnTo>
                <a:lnTo>
                  <a:pt x="2537" y="1283"/>
                </a:lnTo>
                <a:lnTo>
                  <a:pt x="2548" y="1282"/>
                </a:lnTo>
                <a:lnTo>
                  <a:pt x="2558" y="1281"/>
                </a:lnTo>
                <a:lnTo>
                  <a:pt x="2568" y="1280"/>
                </a:lnTo>
                <a:lnTo>
                  <a:pt x="2578" y="1278"/>
                </a:lnTo>
                <a:lnTo>
                  <a:pt x="2587" y="1275"/>
                </a:lnTo>
                <a:lnTo>
                  <a:pt x="2596" y="1272"/>
                </a:lnTo>
                <a:lnTo>
                  <a:pt x="2600" y="1271"/>
                </a:lnTo>
                <a:lnTo>
                  <a:pt x="2605" y="1269"/>
                </a:lnTo>
                <a:lnTo>
                  <a:pt x="2613" y="1264"/>
                </a:lnTo>
                <a:lnTo>
                  <a:pt x="2622" y="1260"/>
                </a:lnTo>
                <a:lnTo>
                  <a:pt x="2630" y="1255"/>
                </a:lnTo>
                <a:lnTo>
                  <a:pt x="2637" y="1249"/>
                </a:lnTo>
                <a:lnTo>
                  <a:pt x="2644" y="1243"/>
                </a:lnTo>
                <a:lnTo>
                  <a:pt x="2651" y="1236"/>
                </a:lnTo>
                <a:lnTo>
                  <a:pt x="2658" y="1229"/>
                </a:lnTo>
                <a:lnTo>
                  <a:pt x="2664" y="1221"/>
                </a:lnTo>
                <a:lnTo>
                  <a:pt x="2670" y="1213"/>
                </a:lnTo>
                <a:lnTo>
                  <a:pt x="2676" y="1204"/>
                </a:lnTo>
                <a:lnTo>
                  <a:pt x="2681" y="1195"/>
                </a:lnTo>
                <a:lnTo>
                  <a:pt x="2686" y="1185"/>
                </a:lnTo>
                <a:lnTo>
                  <a:pt x="2691" y="1175"/>
                </a:lnTo>
                <a:lnTo>
                  <a:pt x="2695" y="1165"/>
                </a:lnTo>
                <a:lnTo>
                  <a:pt x="2699" y="1154"/>
                </a:lnTo>
                <a:lnTo>
                  <a:pt x="2703" y="1142"/>
                </a:lnTo>
                <a:lnTo>
                  <a:pt x="2706" y="1131"/>
                </a:lnTo>
                <a:lnTo>
                  <a:pt x="2709" y="1118"/>
                </a:lnTo>
                <a:lnTo>
                  <a:pt x="2711" y="1106"/>
                </a:lnTo>
                <a:lnTo>
                  <a:pt x="2713" y="1093"/>
                </a:lnTo>
                <a:lnTo>
                  <a:pt x="2715" y="1079"/>
                </a:lnTo>
                <a:lnTo>
                  <a:pt x="2717" y="1065"/>
                </a:lnTo>
                <a:lnTo>
                  <a:pt x="2718" y="1051"/>
                </a:lnTo>
                <a:lnTo>
                  <a:pt x="2718" y="1037"/>
                </a:lnTo>
                <a:lnTo>
                  <a:pt x="2718" y="1022"/>
                </a:lnTo>
                <a:close/>
                <a:moveTo>
                  <a:pt x="5165" y="1037"/>
                </a:moveTo>
                <a:lnTo>
                  <a:pt x="5165" y="570"/>
                </a:lnTo>
                <a:lnTo>
                  <a:pt x="4907" y="570"/>
                </a:lnTo>
                <a:lnTo>
                  <a:pt x="4907" y="1037"/>
                </a:lnTo>
                <a:lnTo>
                  <a:pt x="4906" y="1070"/>
                </a:lnTo>
                <a:lnTo>
                  <a:pt x="4905" y="1100"/>
                </a:lnTo>
                <a:lnTo>
                  <a:pt x="4904" y="1114"/>
                </a:lnTo>
                <a:lnTo>
                  <a:pt x="4903" y="1127"/>
                </a:lnTo>
                <a:lnTo>
                  <a:pt x="4900" y="1152"/>
                </a:lnTo>
                <a:lnTo>
                  <a:pt x="4895" y="1174"/>
                </a:lnTo>
                <a:lnTo>
                  <a:pt x="4890" y="1194"/>
                </a:lnTo>
                <a:lnTo>
                  <a:pt x="4887" y="1203"/>
                </a:lnTo>
                <a:lnTo>
                  <a:pt x="4883" y="1211"/>
                </a:lnTo>
                <a:lnTo>
                  <a:pt x="4879" y="1219"/>
                </a:lnTo>
                <a:lnTo>
                  <a:pt x="4875" y="1226"/>
                </a:lnTo>
                <a:lnTo>
                  <a:pt x="4866" y="1240"/>
                </a:lnTo>
                <a:lnTo>
                  <a:pt x="4860" y="1245"/>
                </a:lnTo>
                <a:lnTo>
                  <a:pt x="4855" y="1251"/>
                </a:lnTo>
                <a:lnTo>
                  <a:pt x="4849" y="1255"/>
                </a:lnTo>
                <a:lnTo>
                  <a:pt x="4843" y="1260"/>
                </a:lnTo>
                <a:lnTo>
                  <a:pt x="4836" y="1264"/>
                </a:lnTo>
                <a:lnTo>
                  <a:pt x="4829" y="1267"/>
                </a:lnTo>
                <a:lnTo>
                  <a:pt x="4821" y="1270"/>
                </a:lnTo>
                <a:lnTo>
                  <a:pt x="4813" y="1273"/>
                </a:lnTo>
                <a:lnTo>
                  <a:pt x="4805" y="1275"/>
                </a:lnTo>
                <a:lnTo>
                  <a:pt x="4796" y="1276"/>
                </a:lnTo>
                <a:lnTo>
                  <a:pt x="4787" y="1278"/>
                </a:lnTo>
                <a:lnTo>
                  <a:pt x="4777" y="1279"/>
                </a:lnTo>
                <a:lnTo>
                  <a:pt x="4767" y="1279"/>
                </a:lnTo>
                <a:lnTo>
                  <a:pt x="4757" y="1279"/>
                </a:lnTo>
                <a:lnTo>
                  <a:pt x="4746" y="1279"/>
                </a:lnTo>
                <a:lnTo>
                  <a:pt x="4735" y="1279"/>
                </a:lnTo>
                <a:lnTo>
                  <a:pt x="4725" y="1278"/>
                </a:lnTo>
                <a:lnTo>
                  <a:pt x="4715" y="1276"/>
                </a:lnTo>
                <a:lnTo>
                  <a:pt x="4706" y="1275"/>
                </a:lnTo>
                <a:lnTo>
                  <a:pt x="4697" y="1273"/>
                </a:lnTo>
                <a:lnTo>
                  <a:pt x="4689" y="1270"/>
                </a:lnTo>
                <a:lnTo>
                  <a:pt x="4681" y="1267"/>
                </a:lnTo>
                <a:lnTo>
                  <a:pt x="4674" y="1264"/>
                </a:lnTo>
                <a:lnTo>
                  <a:pt x="4667" y="1260"/>
                </a:lnTo>
                <a:lnTo>
                  <a:pt x="4660" y="1256"/>
                </a:lnTo>
                <a:lnTo>
                  <a:pt x="4654" y="1251"/>
                </a:lnTo>
                <a:lnTo>
                  <a:pt x="4648" y="1246"/>
                </a:lnTo>
                <a:lnTo>
                  <a:pt x="4642" y="1241"/>
                </a:lnTo>
                <a:lnTo>
                  <a:pt x="4637" y="1235"/>
                </a:lnTo>
                <a:lnTo>
                  <a:pt x="4632" y="1228"/>
                </a:lnTo>
                <a:lnTo>
                  <a:pt x="4627" y="1221"/>
                </a:lnTo>
                <a:lnTo>
                  <a:pt x="4623" y="1214"/>
                </a:lnTo>
                <a:lnTo>
                  <a:pt x="4619" y="1206"/>
                </a:lnTo>
                <a:lnTo>
                  <a:pt x="4616" y="1197"/>
                </a:lnTo>
                <a:lnTo>
                  <a:pt x="4613" y="1188"/>
                </a:lnTo>
                <a:lnTo>
                  <a:pt x="4610" y="1179"/>
                </a:lnTo>
                <a:lnTo>
                  <a:pt x="4607" y="1169"/>
                </a:lnTo>
                <a:lnTo>
                  <a:pt x="4605" y="1158"/>
                </a:lnTo>
                <a:lnTo>
                  <a:pt x="4603" y="1147"/>
                </a:lnTo>
                <a:lnTo>
                  <a:pt x="4601" y="1135"/>
                </a:lnTo>
                <a:lnTo>
                  <a:pt x="4600" y="1123"/>
                </a:lnTo>
                <a:lnTo>
                  <a:pt x="4599" y="1110"/>
                </a:lnTo>
                <a:lnTo>
                  <a:pt x="4598" y="1096"/>
                </a:lnTo>
                <a:lnTo>
                  <a:pt x="4597" y="1082"/>
                </a:lnTo>
                <a:lnTo>
                  <a:pt x="4597" y="1052"/>
                </a:lnTo>
                <a:lnTo>
                  <a:pt x="4597" y="570"/>
                </a:lnTo>
                <a:lnTo>
                  <a:pt x="4338" y="570"/>
                </a:lnTo>
                <a:lnTo>
                  <a:pt x="4338" y="1048"/>
                </a:lnTo>
                <a:lnTo>
                  <a:pt x="4339" y="1067"/>
                </a:lnTo>
                <a:lnTo>
                  <a:pt x="4339" y="1084"/>
                </a:lnTo>
                <a:lnTo>
                  <a:pt x="4340" y="1118"/>
                </a:lnTo>
                <a:lnTo>
                  <a:pt x="4342" y="1149"/>
                </a:lnTo>
                <a:lnTo>
                  <a:pt x="4345" y="1178"/>
                </a:lnTo>
                <a:lnTo>
                  <a:pt x="4347" y="1192"/>
                </a:lnTo>
                <a:lnTo>
                  <a:pt x="4349" y="1205"/>
                </a:lnTo>
                <a:lnTo>
                  <a:pt x="4353" y="1230"/>
                </a:lnTo>
                <a:lnTo>
                  <a:pt x="4356" y="1242"/>
                </a:lnTo>
                <a:lnTo>
                  <a:pt x="4359" y="1254"/>
                </a:lnTo>
                <a:lnTo>
                  <a:pt x="4362" y="1265"/>
                </a:lnTo>
                <a:lnTo>
                  <a:pt x="4366" y="1275"/>
                </a:lnTo>
                <a:lnTo>
                  <a:pt x="4373" y="1296"/>
                </a:lnTo>
                <a:lnTo>
                  <a:pt x="4382" y="1315"/>
                </a:lnTo>
                <a:lnTo>
                  <a:pt x="4392" y="1333"/>
                </a:lnTo>
                <a:lnTo>
                  <a:pt x="4398" y="1341"/>
                </a:lnTo>
                <a:lnTo>
                  <a:pt x="4404" y="1350"/>
                </a:lnTo>
                <a:lnTo>
                  <a:pt x="4410" y="1358"/>
                </a:lnTo>
                <a:lnTo>
                  <a:pt x="4416" y="1366"/>
                </a:lnTo>
                <a:lnTo>
                  <a:pt x="4423" y="1373"/>
                </a:lnTo>
                <a:lnTo>
                  <a:pt x="4430" y="1381"/>
                </a:lnTo>
                <a:lnTo>
                  <a:pt x="4437" y="1388"/>
                </a:lnTo>
                <a:lnTo>
                  <a:pt x="4445" y="1396"/>
                </a:lnTo>
                <a:lnTo>
                  <a:pt x="4461" y="1410"/>
                </a:lnTo>
                <a:lnTo>
                  <a:pt x="4475" y="1421"/>
                </a:lnTo>
                <a:lnTo>
                  <a:pt x="4489" y="1431"/>
                </a:lnTo>
                <a:lnTo>
                  <a:pt x="4505" y="1440"/>
                </a:lnTo>
                <a:lnTo>
                  <a:pt x="4520" y="1449"/>
                </a:lnTo>
                <a:lnTo>
                  <a:pt x="4537" y="1457"/>
                </a:lnTo>
                <a:lnTo>
                  <a:pt x="4554" y="1464"/>
                </a:lnTo>
                <a:lnTo>
                  <a:pt x="4572" y="1471"/>
                </a:lnTo>
                <a:lnTo>
                  <a:pt x="4590" y="1477"/>
                </a:lnTo>
                <a:lnTo>
                  <a:pt x="4609" y="1482"/>
                </a:lnTo>
                <a:lnTo>
                  <a:pt x="4619" y="1484"/>
                </a:lnTo>
                <a:lnTo>
                  <a:pt x="4628" y="1486"/>
                </a:lnTo>
                <a:lnTo>
                  <a:pt x="4638" y="1489"/>
                </a:lnTo>
                <a:lnTo>
                  <a:pt x="4648" y="1490"/>
                </a:lnTo>
                <a:lnTo>
                  <a:pt x="4669" y="1494"/>
                </a:lnTo>
                <a:lnTo>
                  <a:pt x="4689" y="1496"/>
                </a:lnTo>
                <a:lnTo>
                  <a:pt x="4711" y="1498"/>
                </a:lnTo>
                <a:lnTo>
                  <a:pt x="4732" y="1499"/>
                </a:lnTo>
                <a:lnTo>
                  <a:pt x="4755" y="1499"/>
                </a:lnTo>
                <a:lnTo>
                  <a:pt x="4781" y="1499"/>
                </a:lnTo>
                <a:lnTo>
                  <a:pt x="4806" y="1497"/>
                </a:lnTo>
                <a:lnTo>
                  <a:pt x="4818" y="1496"/>
                </a:lnTo>
                <a:lnTo>
                  <a:pt x="4831" y="1494"/>
                </a:lnTo>
                <a:lnTo>
                  <a:pt x="4855" y="1491"/>
                </a:lnTo>
                <a:lnTo>
                  <a:pt x="4878" y="1486"/>
                </a:lnTo>
                <a:lnTo>
                  <a:pt x="4900" y="1480"/>
                </a:lnTo>
                <a:lnTo>
                  <a:pt x="4911" y="1477"/>
                </a:lnTo>
                <a:lnTo>
                  <a:pt x="4922" y="1474"/>
                </a:lnTo>
                <a:lnTo>
                  <a:pt x="4943" y="1466"/>
                </a:lnTo>
                <a:lnTo>
                  <a:pt x="4953" y="1462"/>
                </a:lnTo>
                <a:lnTo>
                  <a:pt x="4963" y="1457"/>
                </a:lnTo>
                <a:lnTo>
                  <a:pt x="4983" y="1448"/>
                </a:lnTo>
                <a:lnTo>
                  <a:pt x="5001" y="1437"/>
                </a:lnTo>
                <a:lnTo>
                  <a:pt x="5019" y="1426"/>
                </a:lnTo>
                <a:lnTo>
                  <a:pt x="5036" y="1413"/>
                </a:lnTo>
                <a:lnTo>
                  <a:pt x="5044" y="1407"/>
                </a:lnTo>
                <a:lnTo>
                  <a:pt x="5052" y="1400"/>
                </a:lnTo>
                <a:lnTo>
                  <a:pt x="5059" y="1393"/>
                </a:lnTo>
                <a:lnTo>
                  <a:pt x="5066" y="1386"/>
                </a:lnTo>
                <a:lnTo>
                  <a:pt x="5080" y="1370"/>
                </a:lnTo>
                <a:lnTo>
                  <a:pt x="5091" y="1357"/>
                </a:lnTo>
                <a:lnTo>
                  <a:pt x="5096" y="1350"/>
                </a:lnTo>
                <a:lnTo>
                  <a:pt x="5101" y="1344"/>
                </a:lnTo>
                <a:lnTo>
                  <a:pt x="5106" y="1336"/>
                </a:lnTo>
                <a:lnTo>
                  <a:pt x="5110" y="1329"/>
                </a:lnTo>
                <a:lnTo>
                  <a:pt x="5118" y="1314"/>
                </a:lnTo>
                <a:lnTo>
                  <a:pt x="5126" y="1298"/>
                </a:lnTo>
                <a:lnTo>
                  <a:pt x="5133" y="1280"/>
                </a:lnTo>
                <a:lnTo>
                  <a:pt x="5139" y="1262"/>
                </a:lnTo>
                <a:lnTo>
                  <a:pt x="5145" y="1243"/>
                </a:lnTo>
                <a:lnTo>
                  <a:pt x="5150" y="1222"/>
                </a:lnTo>
                <a:lnTo>
                  <a:pt x="5154" y="1200"/>
                </a:lnTo>
                <a:lnTo>
                  <a:pt x="5157" y="1177"/>
                </a:lnTo>
                <a:lnTo>
                  <a:pt x="5160" y="1152"/>
                </a:lnTo>
                <a:lnTo>
                  <a:pt x="5162" y="1126"/>
                </a:lnTo>
                <a:lnTo>
                  <a:pt x="5163" y="1112"/>
                </a:lnTo>
                <a:lnTo>
                  <a:pt x="5164" y="1098"/>
                </a:lnTo>
                <a:lnTo>
                  <a:pt x="5165" y="1068"/>
                </a:lnTo>
                <a:lnTo>
                  <a:pt x="5165" y="1037"/>
                </a:lnTo>
                <a:close/>
                <a:moveTo>
                  <a:pt x="6630" y="1478"/>
                </a:moveTo>
                <a:lnTo>
                  <a:pt x="6630" y="957"/>
                </a:lnTo>
                <a:lnTo>
                  <a:pt x="6629" y="905"/>
                </a:lnTo>
                <a:lnTo>
                  <a:pt x="6629" y="881"/>
                </a:lnTo>
                <a:lnTo>
                  <a:pt x="6628" y="859"/>
                </a:lnTo>
                <a:lnTo>
                  <a:pt x="6626" y="838"/>
                </a:lnTo>
                <a:lnTo>
                  <a:pt x="6625" y="819"/>
                </a:lnTo>
                <a:lnTo>
                  <a:pt x="6623" y="801"/>
                </a:lnTo>
                <a:lnTo>
                  <a:pt x="6620" y="784"/>
                </a:lnTo>
                <a:lnTo>
                  <a:pt x="6617" y="767"/>
                </a:lnTo>
                <a:lnTo>
                  <a:pt x="6614" y="752"/>
                </a:lnTo>
                <a:lnTo>
                  <a:pt x="6611" y="738"/>
                </a:lnTo>
                <a:lnTo>
                  <a:pt x="6607" y="725"/>
                </a:lnTo>
                <a:lnTo>
                  <a:pt x="6602" y="713"/>
                </a:lnTo>
                <a:lnTo>
                  <a:pt x="6597" y="701"/>
                </a:lnTo>
                <a:lnTo>
                  <a:pt x="6592" y="690"/>
                </a:lnTo>
                <a:lnTo>
                  <a:pt x="6586" y="680"/>
                </a:lnTo>
                <a:lnTo>
                  <a:pt x="6582" y="672"/>
                </a:lnTo>
                <a:lnTo>
                  <a:pt x="6577" y="665"/>
                </a:lnTo>
                <a:lnTo>
                  <a:pt x="6567" y="651"/>
                </a:lnTo>
                <a:lnTo>
                  <a:pt x="6561" y="645"/>
                </a:lnTo>
                <a:lnTo>
                  <a:pt x="6556" y="638"/>
                </a:lnTo>
                <a:lnTo>
                  <a:pt x="6543" y="626"/>
                </a:lnTo>
                <a:lnTo>
                  <a:pt x="6530" y="615"/>
                </a:lnTo>
                <a:lnTo>
                  <a:pt x="6523" y="609"/>
                </a:lnTo>
                <a:lnTo>
                  <a:pt x="6516" y="604"/>
                </a:lnTo>
                <a:lnTo>
                  <a:pt x="6501" y="594"/>
                </a:lnTo>
                <a:lnTo>
                  <a:pt x="6485" y="586"/>
                </a:lnTo>
                <a:lnTo>
                  <a:pt x="6477" y="582"/>
                </a:lnTo>
                <a:lnTo>
                  <a:pt x="6468" y="578"/>
                </a:lnTo>
                <a:lnTo>
                  <a:pt x="6451" y="571"/>
                </a:lnTo>
                <a:lnTo>
                  <a:pt x="6433" y="565"/>
                </a:lnTo>
                <a:lnTo>
                  <a:pt x="6414" y="560"/>
                </a:lnTo>
                <a:lnTo>
                  <a:pt x="6405" y="558"/>
                </a:lnTo>
                <a:lnTo>
                  <a:pt x="6395" y="556"/>
                </a:lnTo>
                <a:lnTo>
                  <a:pt x="6375" y="553"/>
                </a:lnTo>
                <a:lnTo>
                  <a:pt x="6355" y="552"/>
                </a:lnTo>
                <a:lnTo>
                  <a:pt x="6345" y="551"/>
                </a:lnTo>
                <a:lnTo>
                  <a:pt x="6335" y="551"/>
                </a:lnTo>
                <a:lnTo>
                  <a:pt x="6322" y="551"/>
                </a:lnTo>
                <a:lnTo>
                  <a:pt x="6310" y="552"/>
                </a:lnTo>
                <a:lnTo>
                  <a:pt x="6298" y="553"/>
                </a:lnTo>
                <a:lnTo>
                  <a:pt x="6286" y="554"/>
                </a:lnTo>
                <a:lnTo>
                  <a:pt x="6275" y="556"/>
                </a:lnTo>
                <a:lnTo>
                  <a:pt x="6264" y="558"/>
                </a:lnTo>
                <a:lnTo>
                  <a:pt x="6253" y="561"/>
                </a:lnTo>
                <a:lnTo>
                  <a:pt x="6242" y="564"/>
                </a:lnTo>
                <a:lnTo>
                  <a:pt x="6231" y="567"/>
                </a:lnTo>
                <a:lnTo>
                  <a:pt x="6221" y="571"/>
                </a:lnTo>
                <a:lnTo>
                  <a:pt x="6211" y="575"/>
                </a:lnTo>
                <a:lnTo>
                  <a:pt x="6201" y="580"/>
                </a:lnTo>
                <a:lnTo>
                  <a:pt x="6191" y="585"/>
                </a:lnTo>
                <a:lnTo>
                  <a:pt x="6181" y="590"/>
                </a:lnTo>
                <a:lnTo>
                  <a:pt x="6172" y="596"/>
                </a:lnTo>
                <a:lnTo>
                  <a:pt x="6163" y="602"/>
                </a:lnTo>
                <a:lnTo>
                  <a:pt x="6154" y="609"/>
                </a:lnTo>
                <a:lnTo>
                  <a:pt x="6146" y="616"/>
                </a:lnTo>
                <a:lnTo>
                  <a:pt x="6137" y="624"/>
                </a:lnTo>
                <a:lnTo>
                  <a:pt x="6129" y="632"/>
                </a:lnTo>
                <a:lnTo>
                  <a:pt x="6121" y="640"/>
                </a:lnTo>
                <a:lnTo>
                  <a:pt x="6113" y="649"/>
                </a:lnTo>
                <a:lnTo>
                  <a:pt x="6105" y="658"/>
                </a:lnTo>
                <a:lnTo>
                  <a:pt x="6098" y="668"/>
                </a:lnTo>
                <a:lnTo>
                  <a:pt x="6091" y="678"/>
                </a:lnTo>
                <a:lnTo>
                  <a:pt x="6084" y="688"/>
                </a:lnTo>
                <a:lnTo>
                  <a:pt x="6077" y="699"/>
                </a:lnTo>
                <a:lnTo>
                  <a:pt x="6070" y="711"/>
                </a:lnTo>
                <a:lnTo>
                  <a:pt x="6064" y="723"/>
                </a:lnTo>
                <a:lnTo>
                  <a:pt x="6057" y="735"/>
                </a:lnTo>
                <a:lnTo>
                  <a:pt x="6051" y="748"/>
                </a:lnTo>
                <a:lnTo>
                  <a:pt x="6045" y="761"/>
                </a:lnTo>
                <a:lnTo>
                  <a:pt x="6039" y="736"/>
                </a:lnTo>
                <a:lnTo>
                  <a:pt x="6035" y="724"/>
                </a:lnTo>
                <a:lnTo>
                  <a:pt x="6031" y="712"/>
                </a:lnTo>
                <a:lnTo>
                  <a:pt x="6022" y="690"/>
                </a:lnTo>
                <a:lnTo>
                  <a:pt x="6017" y="679"/>
                </a:lnTo>
                <a:lnTo>
                  <a:pt x="6012" y="669"/>
                </a:lnTo>
                <a:lnTo>
                  <a:pt x="6001" y="650"/>
                </a:lnTo>
                <a:lnTo>
                  <a:pt x="5995" y="642"/>
                </a:lnTo>
                <a:lnTo>
                  <a:pt x="5989" y="633"/>
                </a:lnTo>
                <a:lnTo>
                  <a:pt x="5982" y="625"/>
                </a:lnTo>
                <a:lnTo>
                  <a:pt x="5975" y="618"/>
                </a:lnTo>
                <a:lnTo>
                  <a:pt x="5968" y="610"/>
                </a:lnTo>
                <a:lnTo>
                  <a:pt x="5961" y="604"/>
                </a:lnTo>
                <a:lnTo>
                  <a:pt x="5953" y="597"/>
                </a:lnTo>
                <a:lnTo>
                  <a:pt x="5945" y="591"/>
                </a:lnTo>
                <a:lnTo>
                  <a:pt x="5937" y="586"/>
                </a:lnTo>
                <a:lnTo>
                  <a:pt x="5928" y="581"/>
                </a:lnTo>
                <a:lnTo>
                  <a:pt x="5919" y="576"/>
                </a:lnTo>
                <a:lnTo>
                  <a:pt x="5910" y="572"/>
                </a:lnTo>
                <a:lnTo>
                  <a:pt x="5900" y="568"/>
                </a:lnTo>
                <a:lnTo>
                  <a:pt x="5890" y="564"/>
                </a:lnTo>
                <a:lnTo>
                  <a:pt x="5880" y="561"/>
                </a:lnTo>
                <a:lnTo>
                  <a:pt x="5870" y="558"/>
                </a:lnTo>
                <a:lnTo>
                  <a:pt x="5859" y="556"/>
                </a:lnTo>
                <a:lnTo>
                  <a:pt x="5848" y="554"/>
                </a:lnTo>
                <a:lnTo>
                  <a:pt x="5837" y="553"/>
                </a:lnTo>
                <a:lnTo>
                  <a:pt x="5825" y="552"/>
                </a:lnTo>
                <a:lnTo>
                  <a:pt x="5813" y="551"/>
                </a:lnTo>
                <a:lnTo>
                  <a:pt x="5801" y="551"/>
                </a:lnTo>
                <a:lnTo>
                  <a:pt x="5775" y="552"/>
                </a:lnTo>
                <a:lnTo>
                  <a:pt x="5763" y="553"/>
                </a:lnTo>
                <a:lnTo>
                  <a:pt x="5751" y="554"/>
                </a:lnTo>
                <a:lnTo>
                  <a:pt x="5740" y="556"/>
                </a:lnTo>
                <a:lnTo>
                  <a:pt x="5729" y="558"/>
                </a:lnTo>
                <a:lnTo>
                  <a:pt x="5718" y="560"/>
                </a:lnTo>
                <a:lnTo>
                  <a:pt x="5707" y="563"/>
                </a:lnTo>
                <a:lnTo>
                  <a:pt x="5697" y="567"/>
                </a:lnTo>
                <a:lnTo>
                  <a:pt x="5687" y="570"/>
                </a:lnTo>
                <a:lnTo>
                  <a:pt x="5677" y="574"/>
                </a:lnTo>
                <a:lnTo>
                  <a:pt x="5667" y="579"/>
                </a:lnTo>
                <a:lnTo>
                  <a:pt x="5658" y="584"/>
                </a:lnTo>
                <a:lnTo>
                  <a:pt x="5649" y="589"/>
                </a:lnTo>
                <a:lnTo>
                  <a:pt x="5640" y="595"/>
                </a:lnTo>
                <a:lnTo>
                  <a:pt x="5631" y="601"/>
                </a:lnTo>
                <a:lnTo>
                  <a:pt x="5622" y="607"/>
                </a:lnTo>
                <a:lnTo>
                  <a:pt x="5614" y="614"/>
                </a:lnTo>
                <a:lnTo>
                  <a:pt x="5606" y="622"/>
                </a:lnTo>
                <a:lnTo>
                  <a:pt x="5598" y="629"/>
                </a:lnTo>
                <a:lnTo>
                  <a:pt x="5590" y="637"/>
                </a:lnTo>
                <a:lnTo>
                  <a:pt x="5582" y="646"/>
                </a:lnTo>
                <a:lnTo>
                  <a:pt x="5575" y="655"/>
                </a:lnTo>
                <a:lnTo>
                  <a:pt x="5568" y="665"/>
                </a:lnTo>
                <a:lnTo>
                  <a:pt x="5553" y="685"/>
                </a:lnTo>
                <a:lnTo>
                  <a:pt x="5546" y="695"/>
                </a:lnTo>
                <a:lnTo>
                  <a:pt x="5540" y="707"/>
                </a:lnTo>
                <a:lnTo>
                  <a:pt x="5533" y="718"/>
                </a:lnTo>
                <a:lnTo>
                  <a:pt x="5526" y="730"/>
                </a:lnTo>
                <a:lnTo>
                  <a:pt x="5513" y="756"/>
                </a:lnTo>
                <a:lnTo>
                  <a:pt x="5513" y="570"/>
                </a:lnTo>
                <a:lnTo>
                  <a:pt x="5264" y="570"/>
                </a:lnTo>
                <a:lnTo>
                  <a:pt x="5264" y="1024"/>
                </a:lnTo>
                <a:lnTo>
                  <a:pt x="5264" y="1478"/>
                </a:lnTo>
                <a:lnTo>
                  <a:pt x="5523" y="1478"/>
                </a:lnTo>
                <a:lnTo>
                  <a:pt x="5523" y="1057"/>
                </a:lnTo>
                <a:lnTo>
                  <a:pt x="5523" y="1035"/>
                </a:lnTo>
                <a:lnTo>
                  <a:pt x="5523" y="1015"/>
                </a:lnTo>
                <a:lnTo>
                  <a:pt x="5524" y="997"/>
                </a:lnTo>
                <a:lnTo>
                  <a:pt x="5525" y="988"/>
                </a:lnTo>
                <a:lnTo>
                  <a:pt x="5526" y="979"/>
                </a:lnTo>
                <a:lnTo>
                  <a:pt x="5528" y="963"/>
                </a:lnTo>
                <a:lnTo>
                  <a:pt x="5530" y="948"/>
                </a:lnTo>
                <a:lnTo>
                  <a:pt x="5533" y="935"/>
                </a:lnTo>
                <a:lnTo>
                  <a:pt x="5536" y="922"/>
                </a:lnTo>
                <a:lnTo>
                  <a:pt x="5541" y="907"/>
                </a:lnTo>
                <a:lnTo>
                  <a:pt x="5546" y="893"/>
                </a:lnTo>
                <a:lnTo>
                  <a:pt x="5552" y="879"/>
                </a:lnTo>
                <a:lnTo>
                  <a:pt x="5559" y="867"/>
                </a:lnTo>
                <a:lnTo>
                  <a:pt x="5567" y="855"/>
                </a:lnTo>
                <a:lnTo>
                  <a:pt x="5575" y="844"/>
                </a:lnTo>
                <a:lnTo>
                  <a:pt x="5584" y="834"/>
                </a:lnTo>
                <a:lnTo>
                  <a:pt x="5593" y="824"/>
                </a:lnTo>
                <a:lnTo>
                  <a:pt x="5598" y="820"/>
                </a:lnTo>
                <a:lnTo>
                  <a:pt x="5603" y="816"/>
                </a:lnTo>
                <a:lnTo>
                  <a:pt x="5614" y="809"/>
                </a:lnTo>
                <a:lnTo>
                  <a:pt x="5625" y="802"/>
                </a:lnTo>
                <a:lnTo>
                  <a:pt x="5631" y="800"/>
                </a:lnTo>
                <a:lnTo>
                  <a:pt x="5636" y="797"/>
                </a:lnTo>
                <a:lnTo>
                  <a:pt x="5648" y="793"/>
                </a:lnTo>
                <a:lnTo>
                  <a:pt x="5661" y="790"/>
                </a:lnTo>
                <a:lnTo>
                  <a:pt x="5667" y="789"/>
                </a:lnTo>
                <a:lnTo>
                  <a:pt x="5673" y="788"/>
                </a:lnTo>
                <a:lnTo>
                  <a:pt x="5680" y="788"/>
                </a:lnTo>
                <a:lnTo>
                  <a:pt x="5686" y="788"/>
                </a:lnTo>
                <a:lnTo>
                  <a:pt x="5696" y="788"/>
                </a:lnTo>
                <a:lnTo>
                  <a:pt x="5705" y="789"/>
                </a:lnTo>
                <a:lnTo>
                  <a:pt x="5714" y="790"/>
                </a:lnTo>
                <a:lnTo>
                  <a:pt x="5723" y="793"/>
                </a:lnTo>
                <a:lnTo>
                  <a:pt x="5732" y="795"/>
                </a:lnTo>
                <a:lnTo>
                  <a:pt x="5739" y="799"/>
                </a:lnTo>
                <a:lnTo>
                  <a:pt x="5747" y="802"/>
                </a:lnTo>
                <a:lnTo>
                  <a:pt x="5754" y="807"/>
                </a:lnTo>
                <a:lnTo>
                  <a:pt x="5761" y="812"/>
                </a:lnTo>
                <a:lnTo>
                  <a:pt x="5767" y="817"/>
                </a:lnTo>
                <a:lnTo>
                  <a:pt x="5773" y="823"/>
                </a:lnTo>
                <a:lnTo>
                  <a:pt x="5779" y="830"/>
                </a:lnTo>
                <a:lnTo>
                  <a:pt x="5784" y="837"/>
                </a:lnTo>
                <a:lnTo>
                  <a:pt x="5789" y="845"/>
                </a:lnTo>
                <a:lnTo>
                  <a:pt x="5793" y="853"/>
                </a:lnTo>
                <a:lnTo>
                  <a:pt x="5797" y="861"/>
                </a:lnTo>
                <a:lnTo>
                  <a:pt x="5800" y="868"/>
                </a:lnTo>
                <a:lnTo>
                  <a:pt x="5802" y="875"/>
                </a:lnTo>
                <a:lnTo>
                  <a:pt x="5806" y="890"/>
                </a:lnTo>
                <a:lnTo>
                  <a:pt x="5809" y="906"/>
                </a:lnTo>
                <a:lnTo>
                  <a:pt x="5812" y="924"/>
                </a:lnTo>
                <a:lnTo>
                  <a:pt x="5814" y="945"/>
                </a:lnTo>
                <a:lnTo>
                  <a:pt x="5816" y="969"/>
                </a:lnTo>
                <a:lnTo>
                  <a:pt x="5816" y="981"/>
                </a:lnTo>
                <a:lnTo>
                  <a:pt x="5816" y="995"/>
                </a:lnTo>
                <a:lnTo>
                  <a:pt x="5817" y="1024"/>
                </a:lnTo>
                <a:lnTo>
                  <a:pt x="5817" y="1478"/>
                </a:lnTo>
                <a:lnTo>
                  <a:pt x="6077" y="1478"/>
                </a:lnTo>
                <a:lnTo>
                  <a:pt x="6077" y="1041"/>
                </a:lnTo>
                <a:lnTo>
                  <a:pt x="6077" y="1026"/>
                </a:lnTo>
                <a:lnTo>
                  <a:pt x="6077" y="1011"/>
                </a:lnTo>
                <a:lnTo>
                  <a:pt x="6078" y="997"/>
                </a:lnTo>
                <a:lnTo>
                  <a:pt x="6079" y="983"/>
                </a:lnTo>
                <a:lnTo>
                  <a:pt x="6081" y="970"/>
                </a:lnTo>
                <a:lnTo>
                  <a:pt x="6083" y="957"/>
                </a:lnTo>
                <a:lnTo>
                  <a:pt x="6085" y="944"/>
                </a:lnTo>
                <a:lnTo>
                  <a:pt x="6087" y="932"/>
                </a:lnTo>
                <a:lnTo>
                  <a:pt x="6093" y="910"/>
                </a:lnTo>
                <a:lnTo>
                  <a:pt x="6096" y="899"/>
                </a:lnTo>
                <a:lnTo>
                  <a:pt x="6100" y="889"/>
                </a:lnTo>
                <a:lnTo>
                  <a:pt x="6104" y="879"/>
                </a:lnTo>
                <a:lnTo>
                  <a:pt x="6108" y="870"/>
                </a:lnTo>
                <a:lnTo>
                  <a:pt x="6113" y="861"/>
                </a:lnTo>
                <a:lnTo>
                  <a:pt x="6118" y="853"/>
                </a:lnTo>
                <a:lnTo>
                  <a:pt x="6123" y="845"/>
                </a:lnTo>
                <a:lnTo>
                  <a:pt x="6129" y="838"/>
                </a:lnTo>
                <a:lnTo>
                  <a:pt x="6135" y="831"/>
                </a:lnTo>
                <a:lnTo>
                  <a:pt x="6141" y="824"/>
                </a:lnTo>
                <a:lnTo>
                  <a:pt x="6148" y="819"/>
                </a:lnTo>
                <a:lnTo>
                  <a:pt x="6155" y="813"/>
                </a:lnTo>
                <a:lnTo>
                  <a:pt x="6162" y="808"/>
                </a:lnTo>
                <a:lnTo>
                  <a:pt x="6169" y="804"/>
                </a:lnTo>
                <a:lnTo>
                  <a:pt x="6177" y="800"/>
                </a:lnTo>
                <a:lnTo>
                  <a:pt x="6185" y="797"/>
                </a:lnTo>
                <a:lnTo>
                  <a:pt x="6194" y="794"/>
                </a:lnTo>
                <a:lnTo>
                  <a:pt x="6202" y="792"/>
                </a:lnTo>
                <a:lnTo>
                  <a:pt x="6211" y="790"/>
                </a:lnTo>
                <a:lnTo>
                  <a:pt x="6221" y="789"/>
                </a:lnTo>
                <a:lnTo>
                  <a:pt x="6230" y="788"/>
                </a:lnTo>
                <a:lnTo>
                  <a:pt x="6240" y="788"/>
                </a:lnTo>
                <a:lnTo>
                  <a:pt x="6252" y="788"/>
                </a:lnTo>
                <a:lnTo>
                  <a:pt x="6263" y="789"/>
                </a:lnTo>
                <a:lnTo>
                  <a:pt x="6273" y="791"/>
                </a:lnTo>
                <a:lnTo>
                  <a:pt x="6283" y="793"/>
                </a:lnTo>
                <a:lnTo>
                  <a:pt x="6293" y="796"/>
                </a:lnTo>
                <a:lnTo>
                  <a:pt x="6302" y="800"/>
                </a:lnTo>
                <a:lnTo>
                  <a:pt x="6306" y="802"/>
                </a:lnTo>
                <a:lnTo>
                  <a:pt x="6310" y="804"/>
                </a:lnTo>
                <a:lnTo>
                  <a:pt x="6318" y="809"/>
                </a:lnTo>
                <a:lnTo>
                  <a:pt x="6325" y="815"/>
                </a:lnTo>
                <a:lnTo>
                  <a:pt x="6332" y="821"/>
                </a:lnTo>
                <a:lnTo>
                  <a:pt x="6338" y="829"/>
                </a:lnTo>
                <a:lnTo>
                  <a:pt x="6344" y="837"/>
                </a:lnTo>
                <a:lnTo>
                  <a:pt x="6349" y="845"/>
                </a:lnTo>
                <a:lnTo>
                  <a:pt x="6353" y="855"/>
                </a:lnTo>
                <a:lnTo>
                  <a:pt x="6357" y="865"/>
                </a:lnTo>
                <a:lnTo>
                  <a:pt x="6360" y="876"/>
                </a:lnTo>
                <a:lnTo>
                  <a:pt x="6362" y="887"/>
                </a:lnTo>
                <a:lnTo>
                  <a:pt x="6364" y="900"/>
                </a:lnTo>
                <a:lnTo>
                  <a:pt x="6366" y="915"/>
                </a:lnTo>
                <a:lnTo>
                  <a:pt x="6367" y="931"/>
                </a:lnTo>
                <a:lnTo>
                  <a:pt x="6369" y="969"/>
                </a:lnTo>
                <a:lnTo>
                  <a:pt x="6370" y="990"/>
                </a:lnTo>
                <a:lnTo>
                  <a:pt x="6370" y="1011"/>
                </a:lnTo>
                <a:lnTo>
                  <a:pt x="6370" y="1478"/>
                </a:lnTo>
                <a:lnTo>
                  <a:pt x="6630" y="1478"/>
                </a:lnTo>
                <a:close/>
                <a:moveTo>
                  <a:pt x="2027" y="314"/>
                </a:moveTo>
                <a:lnTo>
                  <a:pt x="2012" y="315"/>
                </a:lnTo>
                <a:lnTo>
                  <a:pt x="2005" y="316"/>
                </a:lnTo>
                <a:lnTo>
                  <a:pt x="1998" y="317"/>
                </a:lnTo>
                <a:lnTo>
                  <a:pt x="1991" y="318"/>
                </a:lnTo>
                <a:lnTo>
                  <a:pt x="1985" y="320"/>
                </a:lnTo>
                <a:lnTo>
                  <a:pt x="1979" y="322"/>
                </a:lnTo>
                <a:lnTo>
                  <a:pt x="1972" y="324"/>
                </a:lnTo>
                <a:lnTo>
                  <a:pt x="1961" y="330"/>
                </a:lnTo>
                <a:lnTo>
                  <a:pt x="1955" y="333"/>
                </a:lnTo>
                <a:lnTo>
                  <a:pt x="1950" y="337"/>
                </a:lnTo>
                <a:lnTo>
                  <a:pt x="1940" y="344"/>
                </a:lnTo>
                <a:lnTo>
                  <a:pt x="1935" y="349"/>
                </a:lnTo>
                <a:lnTo>
                  <a:pt x="1931" y="353"/>
                </a:lnTo>
                <a:lnTo>
                  <a:pt x="1923" y="363"/>
                </a:lnTo>
                <a:lnTo>
                  <a:pt x="1919" y="369"/>
                </a:lnTo>
                <a:lnTo>
                  <a:pt x="1916" y="374"/>
                </a:lnTo>
                <a:lnTo>
                  <a:pt x="1913" y="380"/>
                </a:lnTo>
                <a:lnTo>
                  <a:pt x="1910" y="386"/>
                </a:lnTo>
                <a:lnTo>
                  <a:pt x="1905" y="399"/>
                </a:lnTo>
                <a:lnTo>
                  <a:pt x="1901" y="413"/>
                </a:lnTo>
                <a:lnTo>
                  <a:pt x="1899" y="420"/>
                </a:lnTo>
                <a:lnTo>
                  <a:pt x="1898" y="427"/>
                </a:lnTo>
                <a:lnTo>
                  <a:pt x="1896" y="443"/>
                </a:lnTo>
                <a:lnTo>
                  <a:pt x="1896" y="451"/>
                </a:lnTo>
                <a:lnTo>
                  <a:pt x="1896" y="459"/>
                </a:lnTo>
                <a:lnTo>
                  <a:pt x="1896" y="571"/>
                </a:lnTo>
                <a:lnTo>
                  <a:pt x="2079" y="571"/>
                </a:lnTo>
                <a:lnTo>
                  <a:pt x="2079" y="777"/>
                </a:lnTo>
                <a:lnTo>
                  <a:pt x="1896" y="777"/>
                </a:lnTo>
                <a:lnTo>
                  <a:pt x="1896" y="1479"/>
                </a:lnTo>
                <a:lnTo>
                  <a:pt x="1645" y="1479"/>
                </a:lnTo>
                <a:lnTo>
                  <a:pt x="1645" y="779"/>
                </a:lnTo>
                <a:lnTo>
                  <a:pt x="1529" y="779"/>
                </a:lnTo>
                <a:lnTo>
                  <a:pt x="1529" y="576"/>
                </a:lnTo>
                <a:lnTo>
                  <a:pt x="1645" y="576"/>
                </a:lnTo>
                <a:lnTo>
                  <a:pt x="1645" y="482"/>
                </a:lnTo>
                <a:lnTo>
                  <a:pt x="1645" y="447"/>
                </a:lnTo>
                <a:lnTo>
                  <a:pt x="1646" y="430"/>
                </a:lnTo>
                <a:lnTo>
                  <a:pt x="1647" y="412"/>
                </a:lnTo>
                <a:lnTo>
                  <a:pt x="1649" y="395"/>
                </a:lnTo>
                <a:lnTo>
                  <a:pt x="1650" y="377"/>
                </a:lnTo>
                <a:lnTo>
                  <a:pt x="1653" y="360"/>
                </a:lnTo>
                <a:lnTo>
                  <a:pt x="1655" y="343"/>
                </a:lnTo>
                <a:lnTo>
                  <a:pt x="1659" y="326"/>
                </a:lnTo>
                <a:lnTo>
                  <a:pt x="1663" y="310"/>
                </a:lnTo>
                <a:lnTo>
                  <a:pt x="1667" y="294"/>
                </a:lnTo>
                <a:lnTo>
                  <a:pt x="1672" y="278"/>
                </a:lnTo>
                <a:lnTo>
                  <a:pt x="1678" y="262"/>
                </a:lnTo>
                <a:lnTo>
                  <a:pt x="1685" y="247"/>
                </a:lnTo>
                <a:lnTo>
                  <a:pt x="1692" y="233"/>
                </a:lnTo>
                <a:lnTo>
                  <a:pt x="1696" y="225"/>
                </a:lnTo>
                <a:lnTo>
                  <a:pt x="1700" y="218"/>
                </a:lnTo>
                <a:lnTo>
                  <a:pt x="1705" y="212"/>
                </a:lnTo>
                <a:lnTo>
                  <a:pt x="1709" y="205"/>
                </a:lnTo>
                <a:lnTo>
                  <a:pt x="1719" y="192"/>
                </a:lnTo>
                <a:lnTo>
                  <a:pt x="1730" y="180"/>
                </a:lnTo>
                <a:lnTo>
                  <a:pt x="1742" y="168"/>
                </a:lnTo>
                <a:lnTo>
                  <a:pt x="1755" y="157"/>
                </a:lnTo>
                <a:lnTo>
                  <a:pt x="1761" y="152"/>
                </a:lnTo>
                <a:lnTo>
                  <a:pt x="1769" y="147"/>
                </a:lnTo>
                <a:lnTo>
                  <a:pt x="1784" y="137"/>
                </a:lnTo>
                <a:lnTo>
                  <a:pt x="1791" y="133"/>
                </a:lnTo>
                <a:lnTo>
                  <a:pt x="1800" y="129"/>
                </a:lnTo>
                <a:lnTo>
                  <a:pt x="1817" y="121"/>
                </a:lnTo>
                <a:lnTo>
                  <a:pt x="1826" y="117"/>
                </a:lnTo>
                <a:lnTo>
                  <a:pt x="1835" y="114"/>
                </a:lnTo>
                <a:lnTo>
                  <a:pt x="1855" y="108"/>
                </a:lnTo>
                <a:lnTo>
                  <a:pt x="1876" y="103"/>
                </a:lnTo>
                <a:lnTo>
                  <a:pt x="1899" y="99"/>
                </a:lnTo>
                <a:lnTo>
                  <a:pt x="1910" y="98"/>
                </a:lnTo>
                <a:lnTo>
                  <a:pt x="1923" y="96"/>
                </a:lnTo>
                <a:lnTo>
                  <a:pt x="1948" y="95"/>
                </a:lnTo>
                <a:lnTo>
                  <a:pt x="1961" y="94"/>
                </a:lnTo>
                <a:lnTo>
                  <a:pt x="1974" y="94"/>
                </a:lnTo>
                <a:lnTo>
                  <a:pt x="1999" y="94"/>
                </a:lnTo>
                <a:lnTo>
                  <a:pt x="2021" y="95"/>
                </a:lnTo>
                <a:lnTo>
                  <a:pt x="2041" y="97"/>
                </a:lnTo>
                <a:lnTo>
                  <a:pt x="2061" y="99"/>
                </a:lnTo>
                <a:lnTo>
                  <a:pt x="2080" y="102"/>
                </a:lnTo>
                <a:lnTo>
                  <a:pt x="2100" y="106"/>
                </a:lnTo>
                <a:lnTo>
                  <a:pt x="2122" y="110"/>
                </a:lnTo>
                <a:lnTo>
                  <a:pt x="2146" y="115"/>
                </a:lnTo>
                <a:lnTo>
                  <a:pt x="2146" y="330"/>
                </a:lnTo>
                <a:lnTo>
                  <a:pt x="2122" y="325"/>
                </a:lnTo>
                <a:lnTo>
                  <a:pt x="2110" y="322"/>
                </a:lnTo>
                <a:lnTo>
                  <a:pt x="2097" y="319"/>
                </a:lnTo>
                <a:lnTo>
                  <a:pt x="2082" y="317"/>
                </a:lnTo>
                <a:lnTo>
                  <a:pt x="2066" y="316"/>
                </a:lnTo>
                <a:lnTo>
                  <a:pt x="2048" y="315"/>
                </a:lnTo>
                <a:lnTo>
                  <a:pt x="2027" y="3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77712" tIns="38856" rIns="77712" bIns="3885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>
              <a:latin typeface="Arial"/>
            </a:endParaRPr>
          </a:p>
        </p:txBody>
      </p:sp>
      <p:sp>
        <p:nvSpPr>
          <p:cNvPr id="8" name="(c)" hidden="1"/>
          <p:cNvSpPr txBox="1"/>
          <p:nvPr userDrawn="1"/>
        </p:nvSpPr>
        <p:spPr>
          <a:xfrm>
            <a:off x="10179581" y="7255256"/>
            <a:ext cx="176330" cy="261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i-FI" sz="170" b="0" dirty="0">
                <a:solidFill>
                  <a:prstClr val="white"/>
                </a:solidFill>
                <a:latin typeface="Arial"/>
              </a:rPr>
              <a:t>©grow. for fortum</a:t>
            </a:r>
            <a:endParaRPr lang="en-GB" sz="170" b="0" dirty="0" err="1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4689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</p:sldLayoutIdLst>
  <p:hf hdr="0" ftr="0" dt="0"/>
  <p:txStyles>
    <p:titleStyle>
      <a:lvl1pPr algn="l" defTabSz="777149" rtl="0" eaLnBrk="1" latinLnBrk="0" hangingPunct="1">
        <a:lnSpc>
          <a:spcPct val="85000"/>
        </a:lnSpc>
        <a:spcBef>
          <a:spcPct val="0"/>
        </a:spcBef>
        <a:buNone/>
        <a:defRPr sz="238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6668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700" kern="1200">
          <a:solidFill>
            <a:srgbClr val="000000"/>
          </a:solidFill>
          <a:latin typeface="+mn-lt"/>
          <a:ea typeface="+mn-ea"/>
          <a:cs typeface="+mn-cs"/>
        </a:defRPr>
      </a:lvl1pPr>
      <a:lvl2pPr marL="458734" indent="-23206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530" kern="1200">
          <a:solidFill>
            <a:srgbClr val="000000"/>
          </a:solidFill>
          <a:latin typeface="+mn-lt"/>
          <a:ea typeface="+mn-ea"/>
          <a:cs typeface="+mn-cs"/>
        </a:defRPr>
      </a:lvl2pPr>
      <a:lvl3pPr marL="685402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360" kern="1200">
          <a:solidFill>
            <a:srgbClr val="000000"/>
          </a:solidFill>
          <a:latin typeface="+mn-lt"/>
          <a:ea typeface="+mn-ea"/>
          <a:cs typeface="+mn-cs"/>
        </a:defRPr>
      </a:lvl3pPr>
      <a:lvl4pPr marL="910721" indent="-225320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190" kern="1200">
          <a:solidFill>
            <a:srgbClr val="000000"/>
          </a:solidFill>
          <a:latin typeface="+mn-lt"/>
          <a:ea typeface="+mn-ea"/>
          <a:cs typeface="+mn-cs"/>
        </a:defRPr>
      </a:lvl4pPr>
      <a:lvl5pPr marL="1144135" indent="-23341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190" kern="1200">
          <a:solidFill>
            <a:srgbClr val="000000"/>
          </a:solidFill>
          <a:latin typeface="+mn-lt"/>
          <a:ea typeface="+mn-ea"/>
          <a:cs typeface="+mn-cs"/>
        </a:defRPr>
      </a:lvl5pPr>
      <a:lvl6pPr marL="1370804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020" kern="1200">
          <a:solidFill>
            <a:srgbClr val="000000"/>
          </a:solidFill>
          <a:latin typeface="+mn-lt"/>
          <a:ea typeface="+mn-ea"/>
          <a:cs typeface="+mn-cs"/>
        </a:defRPr>
      </a:lvl6pPr>
      <a:lvl7pPr marL="1596123" indent="-225320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020" kern="1200">
          <a:solidFill>
            <a:srgbClr val="000000"/>
          </a:solidFill>
          <a:latin typeface="+mn-lt"/>
          <a:ea typeface="+mn-ea"/>
          <a:cs typeface="+mn-cs"/>
        </a:defRPr>
      </a:lvl7pPr>
      <a:lvl8pPr marL="1829537" indent="-23341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020" kern="1200">
          <a:solidFill>
            <a:srgbClr val="000000"/>
          </a:solidFill>
          <a:latin typeface="+mn-lt"/>
          <a:ea typeface="+mn-ea"/>
          <a:cs typeface="+mn-cs"/>
        </a:defRPr>
      </a:lvl8pPr>
      <a:lvl9pPr marL="2056206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02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574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149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723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297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2871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446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020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594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163" y="501826"/>
            <a:ext cx="9425289" cy="7591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163" y="1564031"/>
            <a:ext cx="9425289" cy="485600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3270" y="6686001"/>
            <a:ext cx="1224137" cy="26596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latin typeface="Arial"/>
              </a:rPr>
              <a:t>20.3.2017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7407" y="6686001"/>
            <a:ext cx="6364028" cy="265967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/>
                </a:solidFill>
                <a:latin typeface="Arial"/>
              </a:rPr>
              <a:t> 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8163" y="6686003"/>
            <a:ext cx="245108" cy="265627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765" b="0">
                <a:solidFill>
                  <a:schemeClr val="tx1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90E5A77-D385-4CDE-8FE8-D3E3CBE93E71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fortum2016"/>
          <p:cNvSpPr>
            <a:spLocks noChangeAspect="1" noEditPoints="1"/>
          </p:cNvSpPr>
          <p:nvPr userDrawn="1"/>
        </p:nvSpPr>
        <p:spPr bwMode="auto">
          <a:xfrm>
            <a:off x="8856544" y="6647527"/>
            <a:ext cx="1036908" cy="303467"/>
          </a:xfrm>
          <a:custGeom>
            <a:avLst/>
            <a:gdLst>
              <a:gd name="T0" fmla="*/ 317 w 6630"/>
              <a:gd name="T1" fmla="*/ 622 h 1565"/>
              <a:gd name="T2" fmla="*/ 549 w 6630"/>
              <a:gd name="T3" fmla="*/ 281 h 1565"/>
              <a:gd name="T4" fmla="*/ 146 w 6630"/>
              <a:gd name="T5" fmla="*/ 254 h 1565"/>
              <a:gd name="T6" fmla="*/ 2 w 6630"/>
              <a:gd name="T7" fmla="*/ 668 h 1565"/>
              <a:gd name="T8" fmla="*/ 113 w 6630"/>
              <a:gd name="T9" fmla="*/ 1146 h 1565"/>
              <a:gd name="T10" fmla="*/ 417 w 6630"/>
              <a:gd name="T11" fmla="*/ 1452 h 1565"/>
              <a:gd name="T12" fmla="*/ 862 w 6630"/>
              <a:gd name="T13" fmla="*/ 1565 h 1565"/>
              <a:gd name="T14" fmla="*/ 1067 w 6630"/>
              <a:gd name="T15" fmla="*/ 1206 h 1565"/>
              <a:gd name="T16" fmla="*/ 718 w 6630"/>
              <a:gd name="T17" fmla="*/ 1244 h 1565"/>
              <a:gd name="T18" fmla="*/ 395 w 6630"/>
              <a:gd name="T19" fmla="*/ 1028 h 1565"/>
              <a:gd name="T20" fmla="*/ 689 w 6630"/>
              <a:gd name="T21" fmla="*/ 1169 h 1565"/>
              <a:gd name="T22" fmla="*/ 1039 w 6630"/>
              <a:gd name="T23" fmla="*/ 1148 h 1565"/>
              <a:gd name="T24" fmla="*/ 1292 w 6630"/>
              <a:gd name="T25" fmla="*/ 840 h 1565"/>
              <a:gd name="T26" fmla="*/ 1208 w 6630"/>
              <a:gd name="T27" fmla="*/ 435 h 1565"/>
              <a:gd name="T28" fmla="*/ 902 w 6630"/>
              <a:gd name="T29" fmla="*/ 264 h 1565"/>
              <a:gd name="T30" fmla="*/ 518 w 6630"/>
              <a:gd name="T31" fmla="*/ 388 h 1565"/>
              <a:gd name="T32" fmla="*/ 372 w 6630"/>
              <a:gd name="T33" fmla="*/ 702 h 1565"/>
              <a:gd name="T34" fmla="*/ 3593 w 6630"/>
              <a:gd name="T35" fmla="*/ 799 h 1565"/>
              <a:gd name="T36" fmla="*/ 3366 w 6630"/>
              <a:gd name="T37" fmla="*/ 869 h 1565"/>
              <a:gd name="T38" fmla="*/ 3297 w 6630"/>
              <a:gd name="T39" fmla="*/ 570 h 1565"/>
              <a:gd name="T40" fmla="*/ 3419 w 6630"/>
              <a:gd name="T41" fmla="*/ 595 h 1565"/>
              <a:gd name="T42" fmla="*/ 4253 w 6630"/>
              <a:gd name="T43" fmla="*/ 1275 h 1565"/>
              <a:gd name="T44" fmla="*/ 4022 w 6630"/>
              <a:gd name="T45" fmla="*/ 1243 h 1565"/>
              <a:gd name="T46" fmla="*/ 3739 w 6630"/>
              <a:gd name="T47" fmla="*/ 1222 h 1565"/>
              <a:gd name="T48" fmla="*/ 3881 w 6630"/>
              <a:gd name="T49" fmla="*/ 1458 h 1565"/>
              <a:gd name="T50" fmla="*/ 2979 w 6630"/>
              <a:gd name="T51" fmla="*/ 1024 h 1565"/>
              <a:gd name="T52" fmla="*/ 2840 w 6630"/>
              <a:gd name="T53" fmla="*/ 1384 h 1565"/>
              <a:gd name="T54" fmla="*/ 2563 w 6630"/>
              <a:gd name="T55" fmla="*/ 1502 h 1565"/>
              <a:gd name="T56" fmla="*/ 2237 w 6630"/>
              <a:gd name="T57" fmla="*/ 1402 h 1565"/>
              <a:gd name="T58" fmla="*/ 2085 w 6630"/>
              <a:gd name="T59" fmla="*/ 1074 h 1565"/>
              <a:gd name="T60" fmla="*/ 2179 w 6630"/>
              <a:gd name="T61" fmla="*/ 715 h 1565"/>
              <a:gd name="T62" fmla="*/ 2521 w 6630"/>
              <a:gd name="T63" fmla="*/ 546 h 1565"/>
              <a:gd name="T64" fmla="*/ 2907 w 6630"/>
              <a:gd name="T65" fmla="*/ 740 h 1565"/>
              <a:gd name="T66" fmla="*/ 2711 w 6630"/>
              <a:gd name="T67" fmla="*/ 938 h 1565"/>
              <a:gd name="T68" fmla="*/ 2584 w 6630"/>
              <a:gd name="T69" fmla="*/ 769 h 1565"/>
              <a:gd name="T70" fmla="*/ 2395 w 6630"/>
              <a:gd name="T71" fmla="*/ 833 h 1565"/>
              <a:gd name="T72" fmla="*/ 2349 w 6630"/>
              <a:gd name="T73" fmla="*/ 1090 h 1565"/>
              <a:gd name="T74" fmla="*/ 2495 w 6630"/>
              <a:gd name="T75" fmla="*/ 1278 h 1565"/>
              <a:gd name="T76" fmla="*/ 2670 w 6630"/>
              <a:gd name="T77" fmla="*/ 1213 h 1565"/>
              <a:gd name="T78" fmla="*/ 4906 w 6630"/>
              <a:gd name="T79" fmla="*/ 1070 h 1565"/>
              <a:gd name="T80" fmla="*/ 4796 w 6630"/>
              <a:gd name="T81" fmla="*/ 1276 h 1565"/>
              <a:gd name="T82" fmla="*/ 4627 w 6630"/>
              <a:gd name="T83" fmla="*/ 1221 h 1565"/>
              <a:gd name="T84" fmla="*/ 4342 w 6630"/>
              <a:gd name="T85" fmla="*/ 1149 h 1565"/>
              <a:gd name="T86" fmla="*/ 4475 w 6630"/>
              <a:gd name="T87" fmla="*/ 1421 h 1565"/>
              <a:gd name="T88" fmla="*/ 4831 w 6630"/>
              <a:gd name="T89" fmla="*/ 1494 h 1565"/>
              <a:gd name="T90" fmla="*/ 5106 w 6630"/>
              <a:gd name="T91" fmla="*/ 1336 h 1565"/>
              <a:gd name="T92" fmla="*/ 6626 w 6630"/>
              <a:gd name="T93" fmla="*/ 838 h 1565"/>
              <a:gd name="T94" fmla="*/ 6501 w 6630"/>
              <a:gd name="T95" fmla="*/ 594 h 1565"/>
              <a:gd name="T96" fmla="*/ 6231 w 6630"/>
              <a:gd name="T97" fmla="*/ 567 h 1565"/>
              <a:gd name="T98" fmla="*/ 6057 w 6630"/>
              <a:gd name="T99" fmla="*/ 735 h 1565"/>
              <a:gd name="T100" fmla="*/ 5910 w 6630"/>
              <a:gd name="T101" fmla="*/ 572 h 1565"/>
              <a:gd name="T102" fmla="*/ 5667 w 6630"/>
              <a:gd name="T103" fmla="*/ 579 h 1565"/>
              <a:gd name="T104" fmla="*/ 5264 w 6630"/>
              <a:gd name="T105" fmla="*/ 1024 h 1565"/>
              <a:gd name="T106" fmla="*/ 5598 w 6630"/>
              <a:gd name="T107" fmla="*/ 820 h 1565"/>
              <a:gd name="T108" fmla="*/ 5767 w 6630"/>
              <a:gd name="T109" fmla="*/ 817 h 1565"/>
              <a:gd name="T110" fmla="*/ 6077 w 6630"/>
              <a:gd name="T111" fmla="*/ 1011 h 1565"/>
              <a:gd name="T112" fmla="*/ 6169 w 6630"/>
              <a:gd name="T113" fmla="*/ 804 h 1565"/>
              <a:gd name="T114" fmla="*/ 6344 w 6630"/>
              <a:gd name="T115" fmla="*/ 837 h 1565"/>
              <a:gd name="T116" fmla="*/ 1972 w 6630"/>
              <a:gd name="T117" fmla="*/ 324 h 1565"/>
              <a:gd name="T118" fmla="*/ 2079 w 6630"/>
              <a:gd name="T119" fmla="*/ 777 h 1565"/>
              <a:gd name="T120" fmla="*/ 1685 w 6630"/>
              <a:gd name="T121" fmla="*/ 247 h 1565"/>
              <a:gd name="T122" fmla="*/ 1910 w 6630"/>
              <a:gd name="T123" fmla="*/ 98 h 1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30" h="1565">
                <a:moveTo>
                  <a:pt x="375" y="995"/>
                </a:moveTo>
                <a:lnTo>
                  <a:pt x="362" y="972"/>
                </a:lnTo>
                <a:lnTo>
                  <a:pt x="351" y="949"/>
                </a:lnTo>
                <a:lnTo>
                  <a:pt x="341" y="925"/>
                </a:lnTo>
                <a:lnTo>
                  <a:pt x="333" y="901"/>
                </a:lnTo>
                <a:lnTo>
                  <a:pt x="329" y="889"/>
                </a:lnTo>
                <a:lnTo>
                  <a:pt x="325" y="876"/>
                </a:lnTo>
                <a:lnTo>
                  <a:pt x="319" y="851"/>
                </a:lnTo>
                <a:lnTo>
                  <a:pt x="314" y="826"/>
                </a:lnTo>
                <a:lnTo>
                  <a:pt x="310" y="801"/>
                </a:lnTo>
                <a:lnTo>
                  <a:pt x="309" y="788"/>
                </a:lnTo>
                <a:lnTo>
                  <a:pt x="308" y="775"/>
                </a:lnTo>
                <a:lnTo>
                  <a:pt x="307" y="762"/>
                </a:lnTo>
                <a:lnTo>
                  <a:pt x="306" y="749"/>
                </a:lnTo>
                <a:lnTo>
                  <a:pt x="306" y="724"/>
                </a:lnTo>
                <a:lnTo>
                  <a:pt x="307" y="698"/>
                </a:lnTo>
                <a:lnTo>
                  <a:pt x="309" y="673"/>
                </a:lnTo>
                <a:lnTo>
                  <a:pt x="311" y="660"/>
                </a:lnTo>
                <a:lnTo>
                  <a:pt x="313" y="647"/>
                </a:lnTo>
                <a:lnTo>
                  <a:pt x="315" y="635"/>
                </a:lnTo>
                <a:lnTo>
                  <a:pt x="317" y="622"/>
                </a:lnTo>
                <a:lnTo>
                  <a:pt x="323" y="597"/>
                </a:lnTo>
                <a:lnTo>
                  <a:pt x="330" y="572"/>
                </a:lnTo>
                <a:lnTo>
                  <a:pt x="338" y="548"/>
                </a:lnTo>
                <a:lnTo>
                  <a:pt x="348" y="524"/>
                </a:lnTo>
                <a:lnTo>
                  <a:pt x="358" y="500"/>
                </a:lnTo>
                <a:lnTo>
                  <a:pt x="364" y="488"/>
                </a:lnTo>
                <a:lnTo>
                  <a:pt x="370" y="477"/>
                </a:lnTo>
                <a:lnTo>
                  <a:pt x="376" y="465"/>
                </a:lnTo>
                <a:lnTo>
                  <a:pt x="383" y="454"/>
                </a:lnTo>
                <a:lnTo>
                  <a:pt x="397" y="432"/>
                </a:lnTo>
                <a:lnTo>
                  <a:pt x="404" y="421"/>
                </a:lnTo>
                <a:lnTo>
                  <a:pt x="412" y="410"/>
                </a:lnTo>
                <a:lnTo>
                  <a:pt x="428" y="390"/>
                </a:lnTo>
                <a:lnTo>
                  <a:pt x="445" y="369"/>
                </a:lnTo>
                <a:lnTo>
                  <a:pt x="464" y="350"/>
                </a:lnTo>
                <a:lnTo>
                  <a:pt x="483" y="331"/>
                </a:lnTo>
                <a:lnTo>
                  <a:pt x="504" y="314"/>
                </a:lnTo>
                <a:lnTo>
                  <a:pt x="515" y="305"/>
                </a:lnTo>
                <a:lnTo>
                  <a:pt x="526" y="297"/>
                </a:lnTo>
                <a:lnTo>
                  <a:pt x="537" y="289"/>
                </a:lnTo>
                <a:lnTo>
                  <a:pt x="549" y="281"/>
                </a:lnTo>
                <a:lnTo>
                  <a:pt x="573" y="267"/>
                </a:lnTo>
                <a:lnTo>
                  <a:pt x="629" y="57"/>
                </a:lnTo>
                <a:lnTo>
                  <a:pt x="419" y="0"/>
                </a:lnTo>
                <a:lnTo>
                  <a:pt x="401" y="11"/>
                </a:lnTo>
                <a:lnTo>
                  <a:pt x="383" y="23"/>
                </a:lnTo>
                <a:lnTo>
                  <a:pt x="365" y="35"/>
                </a:lnTo>
                <a:lnTo>
                  <a:pt x="347" y="47"/>
                </a:lnTo>
                <a:lnTo>
                  <a:pt x="330" y="60"/>
                </a:lnTo>
                <a:lnTo>
                  <a:pt x="314" y="73"/>
                </a:lnTo>
                <a:lnTo>
                  <a:pt x="297" y="86"/>
                </a:lnTo>
                <a:lnTo>
                  <a:pt x="282" y="100"/>
                </a:lnTo>
                <a:lnTo>
                  <a:pt x="266" y="114"/>
                </a:lnTo>
                <a:lnTo>
                  <a:pt x="251" y="128"/>
                </a:lnTo>
                <a:lnTo>
                  <a:pt x="237" y="143"/>
                </a:lnTo>
                <a:lnTo>
                  <a:pt x="222" y="158"/>
                </a:lnTo>
                <a:lnTo>
                  <a:pt x="209" y="173"/>
                </a:lnTo>
                <a:lnTo>
                  <a:pt x="195" y="188"/>
                </a:lnTo>
                <a:lnTo>
                  <a:pt x="182" y="204"/>
                </a:lnTo>
                <a:lnTo>
                  <a:pt x="170" y="220"/>
                </a:lnTo>
                <a:lnTo>
                  <a:pt x="158" y="237"/>
                </a:lnTo>
                <a:lnTo>
                  <a:pt x="146" y="254"/>
                </a:lnTo>
                <a:lnTo>
                  <a:pt x="135" y="270"/>
                </a:lnTo>
                <a:lnTo>
                  <a:pt x="124" y="288"/>
                </a:lnTo>
                <a:lnTo>
                  <a:pt x="114" y="305"/>
                </a:lnTo>
                <a:lnTo>
                  <a:pt x="104" y="323"/>
                </a:lnTo>
                <a:lnTo>
                  <a:pt x="94" y="341"/>
                </a:lnTo>
                <a:lnTo>
                  <a:pt x="85" y="359"/>
                </a:lnTo>
                <a:lnTo>
                  <a:pt x="76" y="377"/>
                </a:lnTo>
                <a:lnTo>
                  <a:pt x="68" y="395"/>
                </a:lnTo>
                <a:lnTo>
                  <a:pt x="61" y="414"/>
                </a:lnTo>
                <a:lnTo>
                  <a:pt x="53" y="433"/>
                </a:lnTo>
                <a:lnTo>
                  <a:pt x="47" y="452"/>
                </a:lnTo>
                <a:lnTo>
                  <a:pt x="40" y="471"/>
                </a:lnTo>
                <a:lnTo>
                  <a:pt x="29" y="509"/>
                </a:lnTo>
                <a:lnTo>
                  <a:pt x="24" y="529"/>
                </a:lnTo>
                <a:lnTo>
                  <a:pt x="19" y="548"/>
                </a:lnTo>
                <a:lnTo>
                  <a:pt x="15" y="568"/>
                </a:lnTo>
                <a:lnTo>
                  <a:pt x="12" y="588"/>
                </a:lnTo>
                <a:lnTo>
                  <a:pt x="9" y="608"/>
                </a:lnTo>
                <a:lnTo>
                  <a:pt x="6" y="628"/>
                </a:lnTo>
                <a:lnTo>
                  <a:pt x="4" y="648"/>
                </a:lnTo>
                <a:lnTo>
                  <a:pt x="2" y="668"/>
                </a:lnTo>
                <a:lnTo>
                  <a:pt x="1" y="688"/>
                </a:lnTo>
                <a:lnTo>
                  <a:pt x="0" y="708"/>
                </a:lnTo>
                <a:lnTo>
                  <a:pt x="0" y="749"/>
                </a:lnTo>
                <a:lnTo>
                  <a:pt x="1" y="769"/>
                </a:lnTo>
                <a:lnTo>
                  <a:pt x="2" y="790"/>
                </a:lnTo>
                <a:lnTo>
                  <a:pt x="4" y="810"/>
                </a:lnTo>
                <a:lnTo>
                  <a:pt x="6" y="831"/>
                </a:lnTo>
                <a:lnTo>
                  <a:pt x="13" y="871"/>
                </a:lnTo>
                <a:lnTo>
                  <a:pt x="16" y="891"/>
                </a:lnTo>
                <a:lnTo>
                  <a:pt x="21" y="911"/>
                </a:lnTo>
                <a:lnTo>
                  <a:pt x="25" y="932"/>
                </a:lnTo>
                <a:lnTo>
                  <a:pt x="31" y="952"/>
                </a:lnTo>
                <a:lnTo>
                  <a:pt x="36" y="972"/>
                </a:lnTo>
                <a:lnTo>
                  <a:pt x="43" y="991"/>
                </a:lnTo>
                <a:lnTo>
                  <a:pt x="57" y="1031"/>
                </a:lnTo>
                <a:lnTo>
                  <a:pt x="65" y="1050"/>
                </a:lnTo>
                <a:lnTo>
                  <a:pt x="73" y="1070"/>
                </a:lnTo>
                <a:lnTo>
                  <a:pt x="82" y="1089"/>
                </a:lnTo>
                <a:lnTo>
                  <a:pt x="92" y="1108"/>
                </a:lnTo>
                <a:lnTo>
                  <a:pt x="102" y="1127"/>
                </a:lnTo>
                <a:lnTo>
                  <a:pt x="113" y="1146"/>
                </a:lnTo>
                <a:lnTo>
                  <a:pt x="124" y="1165"/>
                </a:lnTo>
                <a:lnTo>
                  <a:pt x="135" y="1183"/>
                </a:lnTo>
                <a:lnTo>
                  <a:pt x="147" y="1201"/>
                </a:lnTo>
                <a:lnTo>
                  <a:pt x="159" y="1218"/>
                </a:lnTo>
                <a:lnTo>
                  <a:pt x="172" y="1235"/>
                </a:lnTo>
                <a:lnTo>
                  <a:pt x="185" y="1252"/>
                </a:lnTo>
                <a:lnTo>
                  <a:pt x="198" y="1268"/>
                </a:lnTo>
                <a:lnTo>
                  <a:pt x="212" y="1284"/>
                </a:lnTo>
                <a:lnTo>
                  <a:pt x="226" y="1299"/>
                </a:lnTo>
                <a:lnTo>
                  <a:pt x="240" y="1314"/>
                </a:lnTo>
                <a:lnTo>
                  <a:pt x="255" y="1329"/>
                </a:lnTo>
                <a:lnTo>
                  <a:pt x="270" y="1343"/>
                </a:lnTo>
                <a:lnTo>
                  <a:pt x="285" y="1357"/>
                </a:lnTo>
                <a:lnTo>
                  <a:pt x="301" y="1370"/>
                </a:lnTo>
                <a:lnTo>
                  <a:pt x="317" y="1383"/>
                </a:lnTo>
                <a:lnTo>
                  <a:pt x="333" y="1396"/>
                </a:lnTo>
                <a:lnTo>
                  <a:pt x="349" y="1408"/>
                </a:lnTo>
                <a:lnTo>
                  <a:pt x="366" y="1419"/>
                </a:lnTo>
                <a:lnTo>
                  <a:pt x="383" y="1431"/>
                </a:lnTo>
                <a:lnTo>
                  <a:pt x="400" y="1441"/>
                </a:lnTo>
                <a:lnTo>
                  <a:pt x="417" y="1452"/>
                </a:lnTo>
                <a:lnTo>
                  <a:pt x="435" y="1462"/>
                </a:lnTo>
                <a:lnTo>
                  <a:pt x="453" y="1471"/>
                </a:lnTo>
                <a:lnTo>
                  <a:pt x="471" y="1480"/>
                </a:lnTo>
                <a:lnTo>
                  <a:pt x="489" y="1489"/>
                </a:lnTo>
                <a:lnTo>
                  <a:pt x="508" y="1497"/>
                </a:lnTo>
                <a:lnTo>
                  <a:pt x="526" y="1505"/>
                </a:lnTo>
                <a:lnTo>
                  <a:pt x="545" y="1512"/>
                </a:lnTo>
                <a:lnTo>
                  <a:pt x="564" y="1519"/>
                </a:lnTo>
                <a:lnTo>
                  <a:pt x="583" y="1525"/>
                </a:lnTo>
                <a:lnTo>
                  <a:pt x="622" y="1536"/>
                </a:lnTo>
                <a:lnTo>
                  <a:pt x="641" y="1541"/>
                </a:lnTo>
                <a:lnTo>
                  <a:pt x="661" y="1546"/>
                </a:lnTo>
                <a:lnTo>
                  <a:pt x="680" y="1550"/>
                </a:lnTo>
                <a:lnTo>
                  <a:pt x="700" y="1554"/>
                </a:lnTo>
                <a:lnTo>
                  <a:pt x="720" y="1557"/>
                </a:lnTo>
                <a:lnTo>
                  <a:pt x="740" y="1559"/>
                </a:lnTo>
                <a:lnTo>
                  <a:pt x="760" y="1561"/>
                </a:lnTo>
                <a:lnTo>
                  <a:pt x="780" y="1563"/>
                </a:lnTo>
                <a:lnTo>
                  <a:pt x="800" y="1564"/>
                </a:lnTo>
                <a:lnTo>
                  <a:pt x="821" y="1565"/>
                </a:lnTo>
                <a:lnTo>
                  <a:pt x="862" y="1565"/>
                </a:lnTo>
                <a:lnTo>
                  <a:pt x="882" y="1564"/>
                </a:lnTo>
                <a:lnTo>
                  <a:pt x="903" y="1563"/>
                </a:lnTo>
                <a:lnTo>
                  <a:pt x="923" y="1561"/>
                </a:lnTo>
                <a:lnTo>
                  <a:pt x="943" y="1559"/>
                </a:lnTo>
                <a:lnTo>
                  <a:pt x="984" y="1553"/>
                </a:lnTo>
                <a:lnTo>
                  <a:pt x="1004" y="1549"/>
                </a:lnTo>
                <a:lnTo>
                  <a:pt x="1024" y="1545"/>
                </a:lnTo>
                <a:lnTo>
                  <a:pt x="1044" y="1540"/>
                </a:lnTo>
                <a:lnTo>
                  <a:pt x="1064" y="1535"/>
                </a:lnTo>
                <a:lnTo>
                  <a:pt x="1084" y="1529"/>
                </a:lnTo>
                <a:lnTo>
                  <a:pt x="1104" y="1522"/>
                </a:lnTo>
                <a:lnTo>
                  <a:pt x="1143" y="1508"/>
                </a:lnTo>
                <a:lnTo>
                  <a:pt x="1163" y="1500"/>
                </a:lnTo>
                <a:lnTo>
                  <a:pt x="1182" y="1492"/>
                </a:lnTo>
                <a:lnTo>
                  <a:pt x="1202" y="1483"/>
                </a:lnTo>
                <a:lnTo>
                  <a:pt x="1221" y="1473"/>
                </a:lnTo>
                <a:lnTo>
                  <a:pt x="1240" y="1463"/>
                </a:lnTo>
                <a:lnTo>
                  <a:pt x="1259" y="1453"/>
                </a:lnTo>
                <a:lnTo>
                  <a:pt x="1105" y="1187"/>
                </a:lnTo>
                <a:lnTo>
                  <a:pt x="1080" y="1200"/>
                </a:lnTo>
                <a:lnTo>
                  <a:pt x="1067" y="1206"/>
                </a:lnTo>
                <a:lnTo>
                  <a:pt x="1055" y="1212"/>
                </a:lnTo>
                <a:lnTo>
                  <a:pt x="1029" y="1223"/>
                </a:lnTo>
                <a:lnTo>
                  <a:pt x="1016" y="1227"/>
                </a:lnTo>
                <a:lnTo>
                  <a:pt x="1004" y="1232"/>
                </a:lnTo>
                <a:lnTo>
                  <a:pt x="991" y="1236"/>
                </a:lnTo>
                <a:lnTo>
                  <a:pt x="978" y="1240"/>
                </a:lnTo>
                <a:lnTo>
                  <a:pt x="965" y="1243"/>
                </a:lnTo>
                <a:lnTo>
                  <a:pt x="952" y="1246"/>
                </a:lnTo>
                <a:lnTo>
                  <a:pt x="939" y="1248"/>
                </a:lnTo>
                <a:lnTo>
                  <a:pt x="926" y="1251"/>
                </a:lnTo>
                <a:lnTo>
                  <a:pt x="899" y="1254"/>
                </a:lnTo>
                <a:lnTo>
                  <a:pt x="873" y="1257"/>
                </a:lnTo>
                <a:lnTo>
                  <a:pt x="860" y="1257"/>
                </a:lnTo>
                <a:lnTo>
                  <a:pt x="847" y="1258"/>
                </a:lnTo>
                <a:lnTo>
                  <a:pt x="820" y="1257"/>
                </a:lnTo>
                <a:lnTo>
                  <a:pt x="794" y="1256"/>
                </a:lnTo>
                <a:lnTo>
                  <a:pt x="768" y="1253"/>
                </a:lnTo>
                <a:lnTo>
                  <a:pt x="756" y="1251"/>
                </a:lnTo>
                <a:lnTo>
                  <a:pt x="743" y="1249"/>
                </a:lnTo>
                <a:lnTo>
                  <a:pt x="730" y="1247"/>
                </a:lnTo>
                <a:lnTo>
                  <a:pt x="718" y="1244"/>
                </a:lnTo>
                <a:lnTo>
                  <a:pt x="693" y="1238"/>
                </a:lnTo>
                <a:lnTo>
                  <a:pt x="680" y="1234"/>
                </a:lnTo>
                <a:lnTo>
                  <a:pt x="668" y="1230"/>
                </a:lnTo>
                <a:lnTo>
                  <a:pt x="644" y="1222"/>
                </a:lnTo>
                <a:lnTo>
                  <a:pt x="632" y="1217"/>
                </a:lnTo>
                <a:lnTo>
                  <a:pt x="620" y="1212"/>
                </a:lnTo>
                <a:lnTo>
                  <a:pt x="597" y="1201"/>
                </a:lnTo>
                <a:lnTo>
                  <a:pt x="574" y="1189"/>
                </a:lnTo>
                <a:lnTo>
                  <a:pt x="552" y="1176"/>
                </a:lnTo>
                <a:lnTo>
                  <a:pt x="541" y="1170"/>
                </a:lnTo>
                <a:lnTo>
                  <a:pt x="531" y="1162"/>
                </a:lnTo>
                <a:lnTo>
                  <a:pt x="520" y="1155"/>
                </a:lnTo>
                <a:lnTo>
                  <a:pt x="510" y="1148"/>
                </a:lnTo>
                <a:lnTo>
                  <a:pt x="490" y="1132"/>
                </a:lnTo>
                <a:lnTo>
                  <a:pt x="471" y="1115"/>
                </a:lnTo>
                <a:lnTo>
                  <a:pt x="453" y="1097"/>
                </a:lnTo>
                <a:lnTo>
                  <a:pt x="444" y="1088"/>
                </a:lnTo>
                <a:lnTo>
                  <a:pt x="435" y="1078"/>
                </a:lnTo>
                <a:lnTo>
                  <a:pt x="418" y="1059"/>
                </a:lnTo>
                <a:lnTo>
                  <a:pt x="403" y="1038"/>
                </a:lnTo>
                <a:lnTo>
                  <a:pt x="395" y="1028"/>
                </a:lnTo>
                <a:lnTo>
                  <a:pt x="388" y="1017"/>
                </a:lnTo>
                <a:lnTo>
                  <a:pt x="381" y="1006"/>
                </a:lnTo>
                <a:lnTo>
                  <a:pt x="375" y="995"/>
                </a:lnTo>
                <a:close/>
                <a:moveTo>
                  <a:pt x="431" y="962"/>
                </a:moveTo>
                <a:lnTo>
                  <a:pt x="443" y="982"/>
                </a:lnTo>
                <a:lnTo>
                  <a:pt x="456" y="1000"/>
                </a:lnTo>
                <a:lnTo>
                  <a:pt x="469" y="1018"/>
                </a:lnTo>
                <a:lnTo>
                  <a:pt x="484" y="1035"/>
                </a:lnTo>
                <a:lnTo>
                  <a:pt x="499" y="1052"/>
                </a:lnTo>
                <a:lnTo>
                  <a:pt x="516" y="1067"/>
                </a:lnTo>
                <a:lnTo>
                  <a:pt x="532" y="1082"/>
                </a:lnTo>
                <a:lnTo>
                  <a:pt x="550" y="1096"/>
                </a:lnTo>
                <a:lnTo>
                  <a:pt x="568" y="1109"/>
                </a:lnTo>
                <a:lnTo>
                  <a:pt x="587" y="1121"/>
                </a:lnTo>
                <a:lnTo>
                  <a:pt x="597" y="1127"/>
                </a:lnTo>
                <a:lnTo>
                  <a:pt x="606" y="1133"/>
                </a:lnTo>
                <a:lnTo>
                  <a:pt x="626" y="1143"/>
                </a:lnTo>
                <a:lnTo>
                  <a:pt x="647" y="1153"/>
                </a:lnTo>
                <a:lnTo>
                  <a:pt x="667" y="1161"/>
                </a:lnTo>
                <a:lnTo>
                  <a:pt x="678" y="1165"/>
                </a:lnTo>
                <a:lnTo>
                  <a:pt x="689" y="1169"/>
                </a:lnTo>
                <a:lnTo>
                  <a:pt x="710" y="1175"/>
                </a:lnTo>
                <a:lnTo>
                  <a:pt x="721" y="1178"/>
                </a:lnTo>
                <a:lnTo>
                  <a:pt x="732" y="1181"/>
                </a:lnTo>
                <a:lnTo>
                  <a:pt x="743" y="1183"/>
                </a:lnTo>
                <a:lnTo>
                  <a:pt x="754" y="1185"/>
                </a:lnTo>
                <a:lnTo>
                  <a:pt x="777" y="1189"/>
                </a:lnTo>
                <a:lnTo>
                  <a:pt x="799" y="1191"/>
                </a:lnTo>
                <a:lnTo>
                  <a:pt x="811" y="1192"/>
                </a:lnTo>
                <a:lnTo>
                  <a:pt x="822" y="1193"/>
                </a:lnTo>
                <a:lnTo>
                  <a:pt x="846" y="1193"/>
                </a:lnTo>
                <a:lnTo>
                  <a:pt x="858" y="1193"/>
                </a:lnTo>
                <a:lnTo>
                  <a:pt x="869" y="1192"/>
                </a:lnTo>
                <a:lnTo>
                  <a:pt x="892" y="1190"/>
                </a:lnTo>
                <a:lnTo>
                  <a:pt x="904" y="1188"/>
                </a:lnTo>
                <a:lnTo>
                  <a:pt x="915" y="1187"/>
                </a:lnTo>
                <a:lnTo>
                  <a:pt x="938" y="1182"/>
                </a:lnTo>
                <a:lnTo>
                  <a:pt x="961" y="1177"/>
                </a:lnTo>
                <a:lnTo>
                  <a:pt x="984" y="1170"/>
                </a:lnTo>
                <a:lnTo>
                  <a:pt x="1006" y="1162"/>
                </a:lnTo>
                <a:lnTo>
                  <a:pt x="1028" y="1153"/>
                </a:lnTo>
                <a:lnTo>
                  <a:pt x="1039" y="1148"/>
                </a:lnTo>
                <a:lnTo>
                  <a:pt x="1050" y="1142"/>
                </a:lnTo>
                <a:lnTo>
                  <a:pt x="1072" y="1130"/>
                </a:lnTo>
                <a:lnTo>
                  <a:pt x="1093" y="1117"/>
                </a:lnTo>
                <a:lnTo>
                  <a:pt x="1104" y="1111"/>
                </a:lnTo>
                <a:lnTo>
                  <a:pt x="1114" y="1103"/>
                </a:lnTo>
                <a:lnTo>
                  <a:pt x="1133" y="1089"/>
                </a:lnTo>
                <a:lnTo>
                  <a:pt x="1151" y="1073"/>
                </a:lnTo>
                <a:lnTo>
                  <a:pt x="1160" y="1065"/>
                </a:lnTo>
                <a:lnTo>
                  <a:pt x="1169" y="1057"/>
                </a:lnTo>
                <a:lnTo>
                  <a:pt x="1185" y="1040"/>
                </a:lnTo>
                <a:lnTo>
                  <a:pt x="1200" y="1022"/>
                </a:lnTo>
                <a:lnTo>
                  <a:pt x="1215" y="1004"/>
                </a:lnTo>
                <a:lnTo>
                  <a:pt x="1228" y="985"/>
                </a:lnTo>
                <a:lnTo>
                  <a:pt x="1240" y="965"/>
                </a:lnTo>
                <a:lnTo>
                  <a:pt x="1246" y="955"/>
                </a:lnTo>
                <a:lnTo>
                  <a:pt x="1251" y="945"/>
                </a:lnTo>
                <a:lnTo>
                  <a:pt x="1262" y="925"/>
                </a:lnTo>
                <a:lnTo>
                  <a:pt x="1271" y="904"/>
                </a:lnTo>
                <a:lnTo>
                  <a:pt x="1279" y="883"/>
                </a:lnTo>
                <a:lnTo>
                  <a:pt x="1286" y="862"/>
                </a:lnTo>
                <a:lnTo>
                  <a:pt x="1292" y="840"/>
                </a:lnTo>
                <a:lnTo>
                  <a:pt x="1297" y="818"/>
                </a:lnTo>
                <a:lnTo>
                  <a:pt x="1301" y="796"/>
                </a:lnTo>
                <a:lnTo>
                  <a:pt x="1304" y="772"/>
                </a:lnTo>
                <a:lnTo>
                  <a:pt x="1306" y="750"/>
                </a:lnTo>
                <a:lnTo>
                  <a:pt x="1307" y="728"/>
                </a:lnTo>
                <a:lnTo>
                  <a:pt x="1307" y="705"/>
                </a:lnTo>
                <a:lnTo>
                  <a:pt x="1306" y="683"/>
                </a:lnTo>
                <a:lnTo>
                  <a:pt x="1303" y="661"/>
                </a:lnTo>
                <a:lnTo>
                  <a:pt x="1300" y="639"/>
                </a:lnTo>
                <a:lnTo>
                  <a:pt x="1296" y="617"/>
                </a:lnTo>
                <a:lnTo>
                  <a:pt x="1290" y="595"/>
                </a:lnTo>
                <a:lnTo>
                  <a:pt x="1284" y="573"/>
                </a:lnTo>
                <a:lnTo>
                  <a:pt x="1276" y="552"/>
                </a:lnTo>
                <a:lnTo>
                  <a:pt x="1272" y="542"/>
                </a:lnTo>
                <a:lnTo>
                  <a:pt x="1267" y="531"/>
                </a:lnTo>
                <a:lnTo>
                  <a:pt x="1262" y="521"/>
                </a:lnTo>
                <a:lnTo>
                  <a:pt x="1257" y="511"/>
                </a:lnTo>
                <a:lnTo>
                  <a:pt x="1247" y="491"/>
                </a:lnTo>
                <a:lnTo>
                  <a:pt x="1235" y="472"/>
                </a:lnTo>
                <a:lnTo>
                  <a:pt x="1222" y="453"/>
                </a:lnTo>
                <a:lnTo>
                  <a:pt x="1208" y="435"/>
                </a:lnTo>
                <a:lnTo>
                  <a:pt x="1194" y="418"/>
                </a:lnTo>
                <a:lnTo>
                  <a:pt x="1178" y="401"/>
                </a:lnTo>
                <a:lnTo>
                  <a:pt x="1162" y="386"/>
                </a:lnTo>
                <a:lnTo>
                  <a:pt x="1145" y="371"/>
                </a:lnTo>
                <a:lnTo>
                  <a:pt x="1128" y="357"/>
                </a:lnTo>
                <a:lnTo>
                  <a:pt x="1119" y="350"/>
                </a:lnTo>
                <a:lnTo>
                  <a:pt x="1110" y="344"/>
                </a:lnTo>
                <a:lnTo>
                  <a:pt x="1091" y="332"/>
                </a:lnTo>
                <a:lnTo>
                  <a:pt x="1082" y="326"/>
                </a:lnTo>
                <a:lnTo>
                  <a:pt x="1072" y="320"/>
                </a:lnTo>
                <a:lnTo>
                  <a:pt x="1052" y="310"/>
                </a:lnTo>
                <a:lnTo>
                  <a:pt x="1032" y="300"/>
                </a:lnTo>
                <a:lnTo>
                  <a:pt x="1011" y="292"/>
                </a:lnTo>
                <a:lnTo>
                  <a:pt x="1000" y="288"/>
                </a:lnTo>
                <a:lnTo>
                  <a:pt x="990" y="284"/>
                </a:lnTo>
                <a:lnTo>
                  <a:pt x="968" y="278"/>
                </a:lnTo>
                <a:lnTo>
                  <a:pt x="957" y="275"/>
                </a:lnTo>
                <a:lnTo>
                  <a:pt x="946" y="272"/>
                </a:lnTo>
                <a:lnTo>
                  <a:pt x="935" y="270"/>
                </a:lnTo>
                <a:lnTo>
                  <a:pt x="924" y="267"/>
                </a:lnTo>
                <a:lnTo>
                  <a:pt x="902" y="264"/>
                </a:lnTo>
                <a:lnTo>
                  <a:pt x="879" y="261"/>
                </a:lnTo>
                <a:lnTo>
                  <a:pt x="868" y="261"/>
                </a:lnTo>
                <a:lnTo>
                  <a:pt x="856" y="260"/>
                </a:lnTo>
                <a:lnTo>
                  <a:pt x="833" y="260"/>
                </a:lnTo>
                <a:lnTo>
                  <a:pt x="821" y="260"/>
                </a:lnTo>
                <a:lnTo>
                  <a:pt x="809" y="261"/>
                </a:lnTo>
                <a:lnTo>
                  <a:pt x="786" y="263"/>
                </a:lnTo>
                <a:lnTo>
                  <a:pt x="775" y="264"/>
                </a:lnTo>
                <a:lnTo>
                  <a:pt x="763" y="266"/>
                </a:lnTo>
                <a:lnTo>
                  <a:pt x="740" y="270"/>
                </a:lnTo>
                <a:lnTo>
                  <a:pt x="718" y="276"/>
                </a:lnTo>
                <a:lnTo>
                  <a:pt x="695" y="283"/>
                </a:lnTo>
                <a:lnTo>
                  <a:pt x="672" y="291"/>
                </a:lnTo>
                <a:lnTo>
                  <a:pt x="650" y="300"/>
                </a:lnTo>
                <a:lnTo>
                  <a:pt x="627" y="311"/>
                </a:lnTo>
                <a:lnTo>
                  <a:pt x="605" y="323"/>
                </a:lnTo>
                <a:lnTo>
                  <a:pt x="584" y="336"/>
                </a:lnTo>
                <a:lnTo>
                  <a:pt x="564" y="350"/>
                </a:lnTo>
                <a:lnTo>
                  <a:pt x="545" y="364"/>
                </a:lnTo>
                <a:lnTo>
                  <a:pt x="527" y="380"/>
                </a:lnTo>
                <a:lnTo>
                  <a:pt x="518" y="388"/>
                </a:lnTo>
                <a:lnTo>
                  <a:pt x="510" y="396"/>
                </a:lnTo>
                <a:lnTo>
                  <a:pt x="493" y="413"/>
                </a:lnTo>
                <a:lnTo>
                  <a:pt x="478" y="431"/>
                </a:lnTo>
                <a:lnTo>
                  <a:pt x="471" y="440"/>
                </a:lnTo>
                <a:lnTo>
                  <a:pt x="464" y="449"/>
                </a:lnTo>
                <a:lnTo>
                  <a:pt x="451" y="468"/>
                </a:lnTo>
                <a:lnTo>
                  <a:pt x="438" y="487"/>
                </a:lnTo>
                <a:lnTo>
                  <a:pt x="433" y="497"/>
                </a:lnTo>
                <a:lnTo>
                  <a:pt x="427" y="507"/>
                </a:lnTo>
                <a:lnTo>
                  <a:pt x="417" y="528"/>
                </a:lnTo>
                <a:lnTo>
                  <a:pt x="408" y="549"/>
                </a:lnTo>
                <a:lnTo>
                  <a:pt x="404" y="559"/>
                </a:lnTo>
                <a:lnTo>
                  <a:pt x="400" y="570"/>
                </a:lnTo>
                <a:lnTo>
                  <a:pt x="392" y="591"/>
                </a:lnTo>
                <a:lnTo>
                  <a:pt x="386" y="613"/>
                </a:lnTo>
                <a:lnTo>
                  <a:pt x="384" y="624"/>
                </a:lnTo>
                <a:lnTo>
                  <a:pt x="381" y="635"/>
                </a:lnTo>
                <a:lnTo>
                  <a:pt x="379" y="646"/>
                </a:lnTo>
                <a:lnTo>
                  <a:pt x="377" y="657"/>
                </a:lnTo>
                <a:lnTo>
                  <a:pt x="374" y="679"/>
                </a:lnTo>
                <a:lnTo>
                  <a:pt x="372" y="702"/>
                </a:lnTo>
                <a:lnTo>
                  <a:pt x="371" y="724"/>
                </a:lnTo>
                <a:lnTo>
                  <a:pt x="371" y="747"/>
                </a:lnTo>
                <a:lnTo>
                  <a:pt x="372" y="758"/>
                </a:lnTo>
                <a:lnTo>
                  <a:pt x="372" y="769"/>
                </a:lnTo>
                <a:lnTo>
                  <a:pt x="373" y="781"/>
                </a:lnTo>
                <a:lnTo>
                  <a:pt x="375" y="792"/>
                </a:lnTo>
                <a:lnTo>
                  <a:pt x="378" y="815"/>
                </a:lnTo>
                <a:lnTo>
                  <a:pt x="382" y="837"/>
                </a:lnTo>
                <a:lnTo>
                  <a:pt x="388" y="858"/>
                </a:lnTo>
                <a:lnTo>
                  <a:pt x="394" y="880"/>
                </a:lnTo>
                <a:lnTo>
                  <a:pt x="402" y="901"/>
                </a:lnTo>
                <a:lnTo>
                  <a:pt x="406" y="911"/>
                </a:lnTo>
                <a:lnTo>
                  <a:pt x="410" y="922"/>
                </a:lnTo>
                <a:lnTo>
                  <a:pt x="415" y="932"/>
                </a:lnTo>
                <a:lnTo>
                  <a:pt x="420" y="942"/>
                </a:lnTo>
                <a:lnTo>
                  <a:pt x="431" y="962"/>
                </a:lnTo>
                <a:close/>
                <a:moveTo>
                  <a:pt x="3652" y="820"/>
                </a:moveTo>
                <a:lnTo>
                  <a:pt x="3636" y="813"/>
                </a:lnTo>
                <a:lnTo>
                  <a:pt x="3621" y="807"/>
                </a:lnTo>
                <a:lnTo>
                  <a:pt x="3606" y="802"/>
                </a:lnTo>
                <a:lnTo>
                  <a:pt x="3593" y="799"/>
                </a:lnTo>
                <a:lnTo>
                  <a:pt x="3579" y="796"/>
                </a:lnTo>
                <a:lnTo>
                  <a:pt x="3564" y="795"/>
                </a:lnTo>
                <a:lnTo>
                  <a:pt x="3549" y="794"/>
                </a:lnTo>
                <a:lnTo>
                  <a:pt x="3533" y="793"/>
                </a:lnTo>
                <a:lnTo>
                  <a:pt x="3520" y="794"/>
                </a:lnTo>
                <a:lnTo>
                  <a:pt x="3507" y="795"/>
                </a:lnTo>
                <a:lnTo>
                  <a:pt x="3494" y="796"/>
                </a:lnTo>
                <a:lnTo>
                  <a:pt x="3488" y="797"/>
                </a:lnTo>
                <a:lnTo>
                  <a:pt x="3482" y="798"/>
                </a:lnTo>
                <a:lnTo>
                  <a:pt x="3470" y="801"/>
                </a:lnTo>
                <a:lnTo>
                  <a:pt x="3458" y="804"/>
                </a:lnTo>
                <a:lnTo>
                  <a:pt x="3447" y="808"/>
                </a:lnTo>
                <a:lnTo>
                  <a:pt x="3437" y="813"/>
                </a:lnTo>
                <a:lnTo>
                  <a:pt x="3426" y="818"/>
                </a:lnTo>
                <a:lnTo>
                  <a:pt x="3417" y="824"/>
                </a:lnTo>
                <a:lnTo>
                  <a:pt x="3407" y="830"/>
                </a:lnTo>
                <a:lnTo>
                  <a:pt x="3398" y="837"/>
                </a:lnTo>
                <a:lnTo>
                  <a:pt x="3389" y="844"/>
                </a:lnTo>
                <a:lnTo>
                  <a:pt x="3381" y="852"/>
                </a:lnTo>
                <a:lnTo>
                  <a:pt x="3373" y="860"/>
                </a:lnTo>
                <a:lnTo>
                  <a:pt x="3366" y="869"/>
                </a:lnTo>
                <a:lnTo>
                  <a:pt x="3359" y="878"/>
                </a:lnTo>
                <a:lnTo>
                  <a:pt x="3352" y="888"/>
                </a:lnTo>
                <a:lnTo>
                  <a:pt x="3346" y="899"/>
                </a:lnTo>
                <a:lnTo>
                  <a:pt x="3340" y="910"/>
                </a:lnTo>
                <a:lnTo>
                  <a:pt x="3335" y="921"/>
                </a:lnTo>
                <a:lnTo>
                  <a:pt x="3330" y="933"/>
                </a:lnTo>
                <a:lnTo>
                  <a:pt x="3325" y="945"/>
                </a:lnTo>
                <a:lnTo>
                  <a:pt x="3321" y="958"/>
                </a:lnTo>
                <a:lnTo>
                  <a:pt x="3318" y="971"/>
                </a:lnTo>
                <a:lnTo>
                  <a:pt x="3315" y="985"/>
                </a:lnTo>
                <a:lnTo>
                  <a:pt x="3312" y="999"/>
                </a:lnTo>
                <a:lnTo>
                  <a:pt x="3310" y="1013"/>
                </a:lnTo>
                <a:lnTo>
                  <a:pt x="3308" y="1028"/>
                </a:lnTo>
                <a:lnTo>
                  <a:pt x="3307" y="1044"/>
                </a:lnTo>
                <a:lnTo>
                  <a:pt x="3306" y="1059"/>
                </a:lnTo>
                <a:lnTo>
                  <a:pt x="3306" y="1076"/>
                </a:lnTo>
                <a:lnTo>
                  <a:pt x="3306" y="1478"/>
                </a:lnTo>
                <a:lnTo>
                  <a:pt x="3048" y="1478"/>
                </a:lnTo>
                <a:lnTo>
                  <a:pt x="3048" y="1024"/>
                </a:lnTo>
                <a:lnTo>
                  <a:pt x="3048" y="570"/>
                </a:lnTo>
                <a:lnTo>
                  <a:pt x="3297" y="570"/>
                </a:lnTo>
                <a:lnTo>
                  <a:pt x="3297" y="776"/>
                </a:lnTo>
                <a:lnTo>
                  <a:pt x="3300" y="764"/>
                </a:lnTo>
                <a:lnTo>
                  <a:pt x="3304" y="751"/>
                </a:lnTo>
                <a:lnTo>
                  <a:pt x="3308" y="739"/>
                </a:lnTo>
                <a:lnTo>
                  <a:pt x="3312" y="727"/>
                </a:lnTo>
                <a:lnTo>
                  <a:pt x="3317" y="716"/>
                </a:lnTo>
                <a:lnTo>
                  <a:pt x="3322" y="705"/>
                </a:lnTo>
                <a:lnTo>
                  <a:pt x="3327" y="694"/>
                </a:lnTo>
                <a:lnTo>
                  <a:pt x="3333" y="684"/>
                </a:lnTo>
                <a:lnTo>
                  <a:pt x="3339" y="674"/>
                </a:lnTo>
                <a:lnTo>
                  <a:pt x="3346" y="664"/>
                </a:lnTo>
                <a:lnTo>
                  <a:pt x="3352" y="655"/>
                </a:lnTo>
                <a:lnTo>
                  <a:pt x="3360" y="646"/>
                </a:lnTo>
                <a:lnTo>
                  <a:pt x="3367" y="638"/>
                </a:lnTo>
                <a:lnTo>
                  <a:pt x="3375" y="630"/>
                </a:lnTo>
                <a:lnTo>
                  <a:pt x="3383" y="622"/>
                </a:lnTo>
                <a:lnTo>
                  <a:pt x="3392" y="615"/>
                </a:lnTo>
                <a:lnTo>
                  <a:pt x="3396" y="611"/>
                </a:lnTo>
                <a:lnTo>
                  <a:pt x="3401" y="608"/>
                </a:lnTo>
                <a:lnTo>
                  <a:pt x="3410" y="601"/>
                </a:lnTo>
                <a:lnTo>
                  <a:pt x="3419" y="595"/>
                </a:lnTo>
                <a:lnTo>
                  <a:pt x="3429" y="590"/>
                </a:lnTo>
                <a:lnTo>
                  <a:pt x="3439" y="585"/>
                </a:lnTo>
                <a:lnTo>
                  <a:pt x="3450" y="580"/>
                </a:lnTo>
                <a:lnTo>
                  <a:pt x="3461" y="576"/>
                </a:lnTo>
                <a:lnTo>
                  <a:pt x="3472" y="572"/>
                </a:lnTo>
                <a:lnTo>
                  <a:pt x="3483" y="568"/>
                </a:lnTo>
                <a:lnTo>
                  <a:pt x="3495" y="565"/>
                </a:lnTo>
                <a:lnTo>
                  <a:pt x="3507" y="563"/>
                </a:lnTo>
                <a:lnTo>
                  <a:pt x="3519" y="561"/>
                </a:lnTo>
                <a:lnTo>
                  <a:pt x="3531" y="559"/>
                </a:lnTo>
                <a:lnTo>
                  <a:pt x="3544" y="558"/>
                </a:lnTo>
                <a:lnTo>
                  <a:pt x="3557" y="557"/>
                </a:lnTo>
                <a:lnTo>
                  <a:pt x="3571" y="557"/>
                </a:lnTo>
                <a:lnTo>
                  <a:pt x="3589" y="557"/>
                </a:lnTo>
                <a:lnTo>
                  <a:pt x="3599" y="558"/>
                </a:lnTo>
                <a:lnTo>
                  <a:pt x="3609" y="559"/>
                </a:lnTo>
                <a:lnTo>
                  <a:pt x="3629" y="562"/>
                </a:lnTo>
                <a:lnTo>
                  <a:pt x="3652" y="566"/>
                </a:lnTo>
                <a:lnTo>
                  <a:pt x="3652" y="820"/>
                </a:lnTo>
                <a:close/>
                <a:moveTo>
                  <a:pt x="4253" y="1478"/>
                </a:moveTo>
                <a:lnTo>
                  <a:pt x="4253" y="1275"/>
                </a:lnTo>
                <a:lnTo>
                  <a:pt x="4238" y="1278"/>
                </a:lnTo>
                <a:lnTo>
                  <a:pt x="4224" y="1281"/>
                </a:lnTo>
                <a:lnTo>
                  <a:pt x="4211" y="1283"/>
                </a:lnTo>
                <a:lnTo>
                  <a:pt x="4199" y="1284"/>
                </a:lnTo>
                <a:lnTo>
                  <a:pt x="4174" y="1286"/>
                </a:lnTo>
                <a:lnTo>
                  <a:pt x="4147" y="1286"/>
                </a:lnTo>
                <a:lnTo>
                  <a:pt x="4125" y="1286"/>
                </a:lnTo>
                <a:lnTo>
                  <a:pt x="4116" y="1285"/>
                </a:lnTo>
                <a:lnTo>
                  <a:pt x="4106" y="1284"/>
                </a:lnTo>
                <a:lnTo>
                  <a:pt x="4089" y="1281"/>
                </a:lnTo>
                <a:lnTo>
                  <a:pt x="4081" y="1280"/>
                </a:lnTo>
                <a:lnTo>
                  <a:pt x="4074" y="1278"/>
                </a:lnTo>
                <a:lnTo>
                  <a:pt x="4066" y="1275"/>
                </a:lnTo>
                <a:lnTo>
                  <a:pt x="4060" y="1272"/>
                </a:lnTo>
                <a:lnTo>
                  <a:pt x="4053" y="1269"/>
                </a:lnTo>
                <a:lnTo>
                  <a:pt x="4047" y="1266"/>
                </a:lnTo>
                <a:lnTo>
                  <a:pt x="4042" y="1262"/>
                </a:lnTo>
                <a:lnTo>
                  <a:pt x="4036" y="1258"/>
                </a:lnTo>
                <a:lnTo>
                  <a:pt x="4031" y="1253"/>
                </a:lnTo>
                <a:lnTo>
                  <a:pt x="4027" y="1248"/>
                </a:lnTo>
                <a:lnTo>
                  <a:pt x="4022" y="1243"/>
                </a:lnTo>
                <a:lnTo>
                  <a:pt x="4019" y="1238"/>
                </a:lnTo>
                <a:lnTo>
                  <a:pt x="4012" y="1225"/>
                </a:lnTo>
                <a:lnTo>
                  <a:pt x="4009" y="1218"/>
                </a:lnTo>
                <a:lnTo>
                  <a:pt x="4006" y="1211"/>
                </a:lnTo>
                <a:lnTo>
                  <a:pt x="4004" y="1203"/>
                </a:lnTo>
                <a:lnTo>
                  <a:pt x="4001" y="1195"/>
                </a:lnTo>
                <a:lnTo>
                  <a:pt x="3998" y="1178"/>
                </a:lnTo>
                <a:lnTo>
                  <a:pt x="3997" y="1168"/>
                </a:lnTo>
                <a:lnTo>
                  <a:pt x="3996" y="1158"/>
                </a:lnTo>
                <a:lnTo>
                  <a:pt x="3994" y="1137"/>
                </a:lnTo>
                <a:lnTo>
                  <a:pt x="3994" y="1114"/>
                </a:lnTo>
                <a:lnTo>
                  <a:pt x="3994" y="775"/>
                </a:lnTo>
                <a:lnTo>
                  <a:pt x="4242" y="775"/>
                </a:lnTo>
                <a:lnTo>
                  <a:pt x="4242" y="574"/>
                </a:lnTo>
                <a:lnTo>
                  <a:pt x="3994" y="574"/>
                </a:lnTo>
                <a:lnTo>
                  <a:pt x="3994" y="280"/>
                </a:lnTo>
                <a:lnTo>
                  <a:pt x="3736" y="426"/>
                </a:lnTo>
                <a:lnTo>
                  <a:pt x="3736" y="1160"/>
                </a:lnTo>
                <a:lnTo>
                  <a:pt x="3736" y="1182"/>
                </a:lnTo>
                <a:lnTo>
                  <a:pt x="3737" y="1202"/>
                </a:lnTo>
                <a:lnTo>
                  <a:pt x="3739" y="1222"/>
                </a:lnTo>
                <a:lnTo>
                  <a:pt x="3741" y="1241"/>
                </a:lnTo>
                <a:lnTo>
                  <a:pt x="3742" y="1251"/>
                </a:lnTo>
                <a:lnTo>
                  <a:pt x="3744" y="1260"/>
                </a:lnTo>
                <a:lnTo>
                  <a:pt x="3747" y="1278"/>
                </a:lnTo>
                <a:lnTo>
                  <a:pt x="3751" y="1295"/>
                </a:lnTo>
                <a:lnTo>
                  <a:pt x="3756" y="1311"/>
                </a:lnTo>
                <a:lnTo>
                  <a:pt x="3762" y="1326"/>
                </a:lnTo>
                <a:lnTo>
                  <a:pt x="3768" y="1341"/>
                </a:lnTo>
                <a:lnTo>
                  <a:pt x="3775" y="1355"/>
                </a:lnTo>
                <a:lnTo>
                  <a:pt x="3782" y="1369"/>
                </a:lnTo>
                <a:lnTo>
                  <a:pt x="3790" y="1381"/>
                </a:lnTo>
                <a:lnTo>
                  <a:pt x="3799" y="1393"/>
                </a:lnTo>
                <a:lnTo>
                  <a:pt x="3804" y="1399"/>
                </a:lnTo>
                <a:lnTo>
                  <a:pt x="3809" y="1405"/>
                </a:lnTo>
                <a:lnTo>
                  <a:pt x="3814" y="1410"/>
                </a:lnTo>
                <a:lnTo>
                  <a:pt x="3819" y="1415"/>
                </a:lnTo>
                <a:lnTo>
                  <a:pt x="3830" y="1425"/>
                </a:lnTo>
                <a:lnTo>
                  <a:pt x="3842" y="1434"/>
                </a:lnTo>
                <a:lnTo>
                  <a:pt x="3854" y="1443"/>
                </a:lnTo>
                <a:lnTo>
                  <a:pt x="3867" y="1451"/>
                </a:lnTo>
                <a:lnTo>
                  <a:pt x="3881" y="1458"/>
                </a:lnTo>
                <a:lnTo>
                  <a:pt x="3896" y="1465"/>
                </a:lnTo>
                <a:lnTo>
                  <a:pt x="3911" y="1470"/>
                </a:lnTo>
                <a:lnTo>
                  <a:pt x="3919" y="1473"/>
                </a:lnTo>
                <a:lnTo>
                  <a:pt x="3927" y="1476"/>
                </a:lnTo>
                <a:lnTo>
                  <a:pt x="3944" y="1480"/>
                </a:lnTo>
                <a:lnTo>
                  <a:pt x="3961" y="1484"/>
                </a:lnTo>
                <a:lnTo>
                  <a:pt x="3979" y="1488"/>
                </a:lnTo>
                <a:lnTo>
                  <a:pt x="3998" y="1491"/>
                </a:lnTo>
                <a:lnTo>
                  <a:pt x="4018" y="1493"/>
                </a:lnTo>
                <a:lnTo>
                  <a:pt x="4038" y="1494"/>
                </a:lnTo>
                <a:lnTo>
                  <a:pt x="4060" y="1495"/>
                </a:lnTo>
                <a:lnTo>
                  <a:pt x="4082" y="1495"/>
                </a:lnTo>
                <a:lnTo>
                  <a:pt x="4104" y="1495"/>
                </a:lnTo>
                <a:lnTo>
                  <a:pt x="4125" y="1495"/>
                </a:lnTo>
                <a:lnTo>
                  <a:pt x="4146" y="1493"/>
                </a:lnTo>
                <a:lnTo>
                  <a:pt x="4167" y="1492"/>
                </a:lnTo>
                <a:lnTo>
                  <a:pt x="4187" y="1490"/>
                </a:lnTo>
                <a:lnTo>
                  <a:pt x="4208" y="1487"/>
                </a:lnTo>
                <a:lnTo>
                  <a:pt x="4230" y="1483"/>
                </a:lnTo>
                <a:lnTo>
                  <a:pt x="4253" y="1478"/>
                </a:lnTo>
                <a:close/>
                <a:moveTo>
                  <a:pt x="2979" y="1024"/>
                </a:moveTo>
                <a:lnTo>
                  <a:pt x="2978" y="1050"/>
                </a:lnTo>
                <a:lnTo>
                  <a:pt x="2976" y="1075"/>
                </a:lnTo>
                <a:lnTo>
                  <a:pt x="2974" y="1100"/>
                </a:lnTo>
                <a:lnTo>
                  <a:pt x="2970" y="1125"/>
                </a:lnTo>
                <a:lnTo>
                  <a:pt x="2966" y="1149"/>
                </a:lnTo>
                <a:lnTo>
                  <a:pt x="2960" y="1172"/>
                </a:lnTo>
                <a:lnTo>
                  <a:pt x="2954" y="1195"/>
                </a:lnTo>
                <a:lnTo>
                  <a:pt x="2950" y="1206"/>
                </a:lnTo>
                <a:lnTo>
                  <a:pt x="2946" y="1217"/>
                </a:lnTo>
                <a:lnTo>
                  <a:pt x="2938" y="1238"/>
                </a:lnTo>
                <a:lnTo>
                  <a:pt x="2928" y="1259"/>
                </a:lnTo>
                <a:lnTo>
                  <a:pt x="2918" y="1279"/>
                </a:lnTo>
                <a:lnTo>
                  <a:pt x="2907" y="1299"/>
                </a:lnTo>
                <a:lnTo>
                  <a:pt x="2896" y="1317"/>
                </a:lnTo>
                <a:lnTo>
                  <a:pt x="2883" y="1335"/>
                </a:lnTo>
                <a:lnTo>
                  <a:pt x="2876" y="1344"/>
                </a:lnTo>
                <a:lnTo>
                  <a:pt x="2870" y="1352"/>
                </a:lnTo>
                <a:lnTo>
                  <a:pt x="2863" y="1360"/>
                </a:lnTo>
                <a:lnTo>
                  <a:pt x="2855" y="1368"/>
                </a:lnTo>
                <a:lnTo>
                  <a:pt x="2848" y="1376"/>
                </a:lnTo>
                <a:lnTo>
                  <a:pt x="2840" y="1384"/>
                </a:lnTo>
                <a:lnTo>
                  <a:pt x="2833" y="1391"/>
                </a:lnTo>
                <a:lnTo>
                  <a:pt x="2825" y="1399"/>
                </a:lnTo>
                <a:lnTo>
                  <a:pt x="2817" y="1406"/>
                </a:lnTo>
                <a:lnTo>
                  <a:pt x="2808" y="1412"/>
                </a:lnTo>
                <a:lnTo>
                  <a:pt x="2791" y="1425"/>
                </a:lnTo>
                <a:lnTo>
                  <a:pt x="2783" y="1431"/>
                </a:lnTo>
                <a:lnTo>
                  <a:pt x="2774" y="1437"/>
                </a:lnTo>
                <a:lnTo>
                  <a:pt x="2755" y="1448"/>
                </a:lnTo>
                <a:lnTo>
                  <a:pt x="2746" y="1453"/>
                </a:lnTo>
                <a:lnTo>
                  <a:pt x="2736" y="1458"/>
                </a:lnTo>
                <a:lnTo>
                  <a:pt x="2716" y="1467"/>
                </a:lnTo>
                <a:lnTo>
                  <a:pt x="2696" y="1476"/>
                </a:lnTo>
                <a:lnTo>
                  <a:pt x="2686" y="1479"/>
                </a:lnTo>
                <a:lnTo>
                  <a:pt x="2675" y="1483"/>
                </a:lnTo>
                <a:lnTo>
                  <a:pt x="2665" y="1486"/>
                </a:lnTo>
                <a:lnTo>
                  <a:pt x="2654" y="1489"/>
                </a:lnTo>
                <a:lnTo>
                  <a:pt x="2632" y="1494"/>
                </a:lnTo>
                <a:lnTo>
                  <a:pt x="2609" y="1498"/>
                </a:lnTo>
                <a:lnTo>
                  <a:pt x="2598" y="1499"/>
                </a:lnTo>
                <a:lnTo>
                  <a:pt x="2586" y="1501"/>
                </a:lnTo>
                <a:lnTo>
                  <a:pt x="2563" y="1502"/>
                </a:lnTo>
                <a:lnTo>
                  <a:pt x="2551" y="1503"/>
                </a:lnTo>
                <a:lnTo>
                  <a:pt x="2539" y="1503"/>
                </a:lnTo>
                <a:lnTo>
                  <a:pt x="2513" y="1502"/>
                </a:lnTo>
                <a:lnTo>
                  <a:pt x="2501" y="1502"/>
                </a:lnTo>
                <a:lnTo>
                  <a:pt x="2488" y="1501"/>
                </a:lnTo>
                <a:lnTo>
                  <a:pt x="2475" y="1500"/>
                </a:lnTo>
                <a:lnTo>
                  <a:pt x="2462" y="1498"/>
                </a:lnTo>
                <a:lnTo>
                  <a:pt x="2439" y="1494"/>
                </a:lnTo>
                <a:lnTo>
                  <a:pt x="2415" y="1489"/>
                </a:lnTo>
                <a:lnTo>
                  <a:pt x="2393" y="1484"/>
                </a:lnTo>
                <a:lnTo>
                  <a:pt x="2382" y="1480"/>
                </a:lnTo>
                <a:lnTo>
                  <a:pt x="2371" y="1477"/>
                </a:lnTo>
                <a:lnTo>
                  <a:pt x="2350" y="1469"/>
                </a:lnTo>
                <a:lnTo>
                  <a:pt x="2329" y="1460"/>
                </a:lnTo>
                <a:lnTo>
                  <a:pt x="2319" y="1455"/>
                </a:lnTo>
                <a:lnTo>
                  <a:pt x="2309" y="1450"/>
                </a:lnTo>
                <a:lnTo>
                  <a:pt x="2290" y="1440"/>
                </a:lnTo>
                <a:lnTo>
                  <a:pt x="2272" y="1428"/>
                </a:lnTo>
                <a:lnTo>
                  <a:pt x="2254" y="1415"/>
                </a:lnTo>
                <a:lnTo>
                  <a:pt x="2246" y="1409"/>
                </a:lnTo>
                <a:lnTo>
                  <a:pt x="2237" y="1402"/>
                </a:lnTo>
                <a:lnTo>
                  <a:pt x="2221" y="1388"/>
                </a:lnTo>
                <a:lnTo>
                  <a:pt x="2206" y="1372"/>
                </a:lnTo>
                <a:lnTo>
                  <a:pt x="2199" y="1364"/>
                </a:lnTo>
                <a:lnTo>
                  <a:pt x="2192" y="1356"/>
                </a:lnTo>
                <a:lnTo>
                  <a:pt x="2185" y="1348"/>
                </a:lnTo>
                <a:lnTo>
                  <a:pt x="2178" y="1339"/>
                </a:lnTo>
                <a:lnTo>
                  <a:pt x="2172" y="1330"/>
                </a:lnTo>
                <a:lnTo>
                  <a:pt x="2166" y="1321"/>
                </a:lnTo>
                <a:lnTo>
                  <a:pt x="2154" y="1303"/>
                </a:lnTo>
                <a:lnTo>
                  <a:pt x="2143" y="1283"/>
                </a:lnTo>
                <a:lnTo>
                  <a:pt x="2138" y="1273"/>
                </a:lnTo>
                <a:lnTo>
                  <a:pt x="2133" y="1263"/>
                </a:lnTo>
                <a:lnTo>
                  <a:pt x="2124" y="1242"/>
                </a:lnTo>
                <a:lnTo>
                  <a:pt x="2115" y="1220"/>
                </a:lnTo>
                <a:lnTo>
                  <a:pt x="2108" y="1197"/>
                </a:lnTo>
                <a:lnTo>
                  <a:pt x="2101" y="1174"/>
                </a:lnTo>
                <a:lnTo>
                  <a:pt x="2096" y="1150"/>
                </a:lnTo>
                <a:lnTo>
                  <a:pt x="2094" y="1138"/>
                </a:lnTo>
                <a:lnTo>
                  <a:pt x="2092" y="1125"/>
                </a:lnTo>
                <a:lnTo>
                  <a:pt x="2088" y="1100"/>
                </a:lnTo>
                <a:lnTo>
                  <a:pt x="2085" y="1074"/>
                </a:lnTo>
                <a:lnTo>
                  <a:pt x="2085" y="1061"/>
                </a:lnTo>
                <a:lnTo>
                  <a:pt x="2084" y="1047"/>
                </a:lnTo>
                <a:lnTo>
                  <a:pt x="2083" y="1020"/>
                </a:lnTo>
                <a:lnTo>
                  <a:pt x="2084" y="995"/>
                </a:lnTo>
                <a:lnTo>
                  <a:pt x="2085" y="983"/>
                </a:lnTo>
                <a:lnTo>
                  <a:pt x="2085" y="970"/>
                </a:lnTo>
                <a:lnTo>
                  <a:pt x="2088" y="946"/>
                </a:lnTo>
                <a:lnTo>
                  <a:pt x="2092" y="922"/>
                </a:lnTo>
                <a:lnTo>
                  <a:pt x="2096" y="899"/>
                </a:lnTo>
                <a:lnTo>
                  <a:pt x="2102" y="876"/>
                </a:lnTo>
                <a:lnTo>
                  <a:pt x="2108" y="854"/>
                </a:lnTo>
                <a:lnTo>
                  <a:pt x="2116" y="832"/>
                </a:lnTo>
                <a:lnTo>
                  <a:pt x="2124" y="811"/>
                </a:lnTo>
                <a:lnTo>
                  <a:pt x="2133" y="791"/>
                </a:lnTo>
                <a:lnTo>
                  <a:pt x="2138" y="781"/>
                </a:lnTo>
                <a:lnTo>
                  <a:pt x="2144" y="770"/>
                </a:lnTo>
                <a:lnTo>
                  <a:pt x="2155" y="751"/>
                </a:lnTo>
                <a:lnTo>
                  <a:pt x="2160" y="742"/>
                </a:lnTo>
                <a:lnTo>
                  <a:pt x="2166" y="732"/>
                </a:lnTo>
                <a:lnTo>
                  <a:pt x="2173" y="723"/>
                </a:lnTo>
                <a:lnTo>
                  <a:pt x="2179" y="715"/>
                </a:lnTo>
                <a:lnTo>
                  <a:pt x="2193" y="698"/>
                </a:lnTo>
                <a:lnTo>
                  <a:pt x="2207" y="681"/>
                </a:lnTo>
                <a:lnTo>
                  <a:pt x="2222" y="666"/>
                </a:lnTo>
                <a:lnTo>
                  <a:pt x="2238" y="651"/>
                </a:lnTo>
                <a:lnTo>
                  <a:pt x="2255" y="637"/>
                </a:lnTo>
                <a:lnTo>
                  <a:pt x="2272" y="624"/>
                </a:lnTo>
                <a:lnTo>
                  <a:pt x="2290" y="612"/>
                </a:lnTo>
                <a:lnTo>
                  <a:pt x="2309" y="601"/>
                </a:lnTo>
                <a:lnTo>
                  <a:pt x="2329" y="591"/>
                </a:lnTo>
                <a:lnTo>
                  <a:pt x="2349" y="582"/>
                </a:lnTo>
                <a:lnTo>
                  <a:pt x="2359" y="577"/>
                </a:lnTo>
                <a:lnTo>
                  <a:pt x="2370" y="573"/>
                </a:lnTo>
                <a:lnTo>
                  <a:pt x="2391" y="566"/>
                </a:lnTo>
                <a:lnTo>
                  <a:pt x="2413" y="560"/>
                </a:lnTo>
                <a:lnTo>
                  <a:pt x="2436" y="555"/>
                </a:lnTo>
                <a:lnTo>
                  <a:pt x="2447" y="553"/>
                </a:lnTo>
                <a:lnTo>
                  <a:pt x="2459" y="551"/>
                </a:lnTo>
                <a:lnTo>
                  <a:pt x="2471" y="549"/>
                </a:lnTo>
                <a:lnTo>
                  <a:pt x="2483" y="548"/>
                </a:lnTo>
                <a:lnTo>
                  <a:pt x="2508" y="546"/>
                </a:lnTo>
                <a:lnTo>
                  <a:pt x="2521" y="546"/>
                </a:lnTo>
                <a:lnTo>
                  <a:pt x="2533" y="545"/>
                </a:lnTo>
                <a:lnTo>
                  <a:pt x="2559" y="546"/>
                </a:lnTo>
                <a:lnTo>
                  <a:pt x="2585" y="548"/>
                </a:lnTo>
                <a:lnTo>
                  <a:pt x="2610" y="551"/>
                </a:lnTo>
                <a:lnTo>
                  <a:pt x="2634" y="554"/>
                </a:lnTo>
                <a:lnTo>
                  <a:pt x="2657" y="559"/>
                </a:lnTo>
                <a:lnTo>
                  <a:pt x="2679" y="566"/>
                </a:lnTo>
                <a:lnTo>
                  <a:pt x="2701" y="573"/>
                </a:lnTo>
                <a:lnTo>
                  <a:pt x="2722" y="581"/>
                </a:lnTo>
                <a:lnTo>
                  <a:pt x="2742" y="590"/>
                </a:lnTo>
                <a:lnTo>
                  <a:pt x="2762" y="600"/>
                </a:lnTo>
                <a:lnTo>
                  <a:pt x="2780" y="611"/>
                </a:lnTo>
                <a:lnTo>
                  <a:pt x="2798" y="623"/>
                </a:lnTo>
                <a:lnTo>
                  <a:pt x="2815" y="636"/>
                </a:lnTo>
                <a:lnTo>
                  <a:pt x="2832" y="650"/>
                </a:lnTo>
                <a:lnTo>
                  <a:pt x="2847" y="664"/>
                </a:lnTo>
                <a:lnTo>
                  <a:pt x="2862" y="680"/>
                </a:lnTo>
                <a:lnTo>
                  <a:pt x="2876" y="696"/>
                </a:lnTo>
                <a:lnTo>
                  <a:pt x="2889" y="713"/>
                </a:lnTo>
                <a:lnTo>
                  <a:pt x="2901" y="731"/>
                </a:lnTo>
                <a:lnTo>
                  <a:pt x="2907" y="740"/>
                </a:lnTo>
                <a:lnTo>
                  <a:pt x="2912" y="749"/>
                </a:lnTo>
                <a:lnTo>
                  <a:pt x="2917" y="759"/>
                </a:lnTo>
                <a:lnTo>
                  <a:pt x="2923" y="769"/>
                </a:lnTo>
                <a:lnTo>
                  <a:pt x="2932" y="790"/>
                </a:lnTo>
                <a:lnTo>
                  <a:pt x="2941" y="810"/>
                </a:lnTo>
                <a:lnTo>
                  <a:pt x="2949" y="832"/>
                </a:lnTo>
                <a:lnTo>
                  <a:pt x="2956" y="854"/>
                </a:lnTo>
                <a:lnTo>
                  <a:pt x="2962" y="876"/>
                </a:lnTo>
                <a:lnTo>
                  <a:pt x="2967" y="899"/>
                </a:lnTo>
                <a:lnTo>
                  <a:pt x="2971" y="923"/>
                </a:lnTo>
                <a:lnTo>
                  <a:pt x="2974" y="948"/>
                </a:lnTo>
                <a:lnTo>
                  <a:pt x="2977" y="972"/>
                </a:lnTo>
                <a:lnTo>
                  <a:pt x="2978" y="998"/>
                </a:lnTo>
                <a:lnTo>
                  <a:pt x="2979" y="1024"/>
                </a:lnTo>
                <a:close/>
                <a:moveTo>
                  <a:pt x="2718" y="1022"/>
                </a:moveTo>
                <a:lnTo>
                  <a:pt x="2718" y="1007"/>
                </a:lnTo>
                <a:lnTo>
                  <a:pt x="2717" y="992"/>
                </a:lnTo>
                <a:lnTo>
                  <a:pt x="2716" y="978"/>
                </a:lnTo>
                <a:lnTo>
                  <a:pt x="2715" y="964"/>
                </a:lnTo>
                <a:lnTo>
                  <a:pt x="2713" y="951"/>
                </a:lnTo>
                <a:lnTo>
                  <a:pt x="2711" y="938"/>
                </a:lnTo>
                <a:lnTo>
                  <a:pt x="2709" y="926"/>
                </a:lnTo>
                <a:lnTo>
                  <a:pt x="2706" y="913"/>
                </a:lnTo>
                <a:lnTo>
                  <a:pt x="2702" y="902"/>
                </a:lnTo>
                <a:lnTo>
                  <a:pt x="2699" y="890"/>
                </a:lnTo>
                <a:lnTo>
                  <a:pt x="2695" y="880"/>
                </a:lnTo>
                <a:lnTo>
                  <a:pt x="2690" y="869"/>
                </a:lnTo>
                <a:lnTo>
                  <a:pt x="2685" y="859"/>
                </a:lnTo>
                <a:lnTo>
                  <a:pt x="2680" y="850"/>
                </a:lnTo>
                <a:lnTo>
                  <a:pt x="2675" y="841"/>
                </a:lnTo>
                <a:lnTo>
                  <a:pt x="2669" y="832"/>
                </a:lnTo>
                <a:lnTo>
                  <a:pt x="2663" y="824"/>
                </a:lnTo>
                <a:lnTo>
                  <a:pt x="2657" y="816"/>
                </a:lnTo>
                <a:lnTo>
                  <a:pt x="2650" y="809"/>
                </a:lnTo>
                <a:lnTo>
                  <a:pt x="2643" y="802"/>
                </a:lnTo>
                <a:lnTo>
                  <a:pt x="2635" y="796"/>
                </a:lnTo>
                <a:lnTo>
                  <a:pt x="2627" y="791"/>
                </a:lnTo>
                <a:lnTo>
                  <a:pt x="2619" y="785"/>
                </a:lnTo>
                <a:lnTo>
                  <a:pt x="2611" y="781"/>
                </a:lnTo>
                <a:lnTo>
                  <a:pt x="2602" y="776"/>
                </a:lnTo>
                <a:lnTo>
                  <a:pt x="2593" y="772"/>
                </a:lnTo>
                <a:lnTo>
                  <a:pt x="2584" y="769"/>
                </a:lnTo>
                <a:lnTo>
                  <a:pt x="2574" y="767"/>
                </a:lnTo>
                <a:lnTo>
                  <a:pt x="2565" y="765"/>
                </a:lnTo>
                <a:lnTo>
                  <a:pt x="2554" y="763"/>
                </a:lnTo>
                <a:lnTo>
                  <a:pt x="2544" y="762"/>
                </a:lnTo>
                <a:lnTo>
                  <a:pt x="2533" y="762"/>
                </a:lnTo>
                <a:lnTo>
                  <a:pt x="2523" y="762"/>
                </a:lnTo>
                <a:lnTo>
                  <a:pt x="2512" y="763"/>
                </a:lnTo>
                <a:lnTo>
                  <a:pt x="2502" y="765"/>
                </a:lnTo>
                <a:lnTo>
                  <a:pt x="2492" y="767"/>
                </a:lnTo>
                <a:lnTo>
                  <a:pt x="2481" y="769"/>
                </a:lnTo>
                <a:lnTo>
                  <a:pt x="2472" y="772"/>
                </a:lnTo>
                <a:lnTo>
                  <a:pt x="2463" y="776"/>
                </a:lnTo>
                <a:lnTo>
                  <a:pt x="2454" y="781"/>
                </a:lnTo>
                <a:lnTo>
                  <a:pt x="2446" y="786"/>
                </a:lnTo>
                <a:lnTo>
                  <a:pt x="2437" y="791"/>
                </a:lnTo>
                <a:lnTo>
                  <a:pt x="2429" y="797"/>
                </a:lnTo>
                <a:lnTo>
                  <a:pt x="2422" y="803"/>
                </a:lnTo>
                <a:lnTo>
                  <a:pt x="2415" y="810"/>
                </a:lnTo>
                <a:lnTo>
                  <a:pt x="2408" y="817"/>
                </a:lnTo>
                <a:lnTo>
                  <a:pt x="2401" y="825"/>
                </a:lnTo>
                <a:lnTo>
                  <a:pt x="2395" y="833"/>
                </a:lnTo>
                <a:lnTo>
                  <a:pt x="2389" y="842"/>
                </a:lnTo>
                <a:lnTo>
                  <a:pt x="2383" y="851"/>
                </a:lnTo>
                <a:lnTo>
                  <a:pt x="2378" y="860"/>
                </a:lnTo>
                <a:lnTo>
                  <a:pt x="2373" y="870"/>
                </a:lnTo>
                <a:lnTo>
                  <a:pt x="2368" y="881"/>
                </a:lnTo>
                <a:lnTo>
                  <a:pt x="2364" y="891"/>
                </a:lnTo>
                <a:lnTo>
                  <a:pt x="2360" y="903"/>
                </a:lnTo>
                <a:lnTo>
                  <a:pt x="2357" y="914"/>
                </a:lnTo>
                <a:lnTo>
                  <a:pt x="2354" y="926"/>
                </a:lnTo>
                <a:lnTo>
                  <a:pt x="2351" y="939"/>
                </a:lnTo>
                <a:lnTo>
                  <a:pt x="2349" y="951"/>
                </a:lnTo>
                <a:lnTo>
                  <a:pt x="2347" y="964"/>
                </a:lnTo>
                <a:lnTo>
                  <a:pt x="2346" y="978"/>
                </a:lnTo>
                <a:lnTo>
                  <a:pt x="2344" y="991"/>
                </a:lnTo>
                <a:lnTo>
                  <a:pt x="2344" y="1005"/>
                </a:lnTo>
                <a:lnTo>
                  <a:pt x="2344" y="1020"/>
                </a:lnTo>
                <a:lnTo>
                  <a:pt x="2344" y="1034"/>
                </a:lnTo>
                <a:lnTo>
                  <a:pt x="2344" y="1049"/>
                </a:lnTo>
                <a:lnTo>
                  <a:pt x="2346" y="1063"/>
                </a:lnTo>
                <a:lnTo>
                  <a:pt x="2347" y="1076"/>
                </a:lnTo>
                <a:lnTo>
                  <a:pt x="2349" y="1090"/>
                </a:lnTo>
                <a:lnTo>
                  <a:pt x="2351" y="1103"/>
                </a:lnTo>
                <a:lnTo>
                  <a:pt x="2357" y="1127"/>
                </a:lnTo>
                <a:lnTo>
                  <a:pt x="2361" y="1139"/>
                </a:lnTo>
                <a:lnTo>
                  <a:pt x="2365" y="1150"/>
                </a:lnTo>
                <a:lnTo>
                  <a:pt x="2369" y="1162"/>
                </a:lnTo>
                <a:lnTo>
                  <a:pt x="2374" y="1172"/>
                </a:lnTo>
                <a:lnTo>
                  <a:pt x="2379" y="1182"/>
                </a:lnTo>
                <a:lnTo>
                  <a:pt x="2384" y="1192"/>
                </a:lnTo>
                <a:lnTo>
                  <a:pt x="2396" y="1210"/>
                </a:lnTo>
                <a:lnTo>
                  <a:pt x="2402" y="1219"/>
                </a:lnTo>
                <a:lnTo>
                  <a:pt x="2409" y="1227"/>
                </a:lnTo>
                <a:lnTo>
                  <a:pt x="2416" y="1234"/>
                </a:lnTo>
                <a:lnTo>
                  <a:pt x="2424" y="1241"/>
                </a:lnTo>
                <a:lnTo>
                  <a:pt x="2431" y="1247"/>
                </a:lnTo>
                <a:lnTo>
                  <a:pt x="2439" y="1253"/>
                </a:lnTo>
                <a:lnTo>
                  <a:pt x="2448" y="1259"/>
                </a:lnTo>
                <a:lnTo>
                  <a:pt x="2457" y="1264"/>
                </a:lnTo>
                <a:lnTo>
                  <a:pt x="2465" y="1268"/>
                </a:lnTo>
                <a:lnTo>
                  <a:pt x="2475" y="1272"/>
                </a:lnTo>
                <a:lnTo>
                  <a:pt x="2484" y="1275"/>
                </a:lnTo>
                <a:lnTo>
                  <a:pt x="2495" y="1278"/>
                </a:lnTo>
                <a:lnTo>
                  <a:pt x="2505" y="1280"/>
                </a:lnTo>
                <a:lnTo>
                  <a:pt x="2516" y="1281"/>
                </a:lnTo>
                <a:lnTo>
                  <a:pt x="2526" y="1282"/>
                </a:lnTo>
                <a:lnTo>
                  <a:pt x="2537" y="1283"/>
                </a:lnTo>
                <a:lnTo>
                  <a:pt x="2548" y="1282"/>
                </a:lnTo>
                <a:lnTo>
                  <a:pt x="2558" y="1281"/>
                </a:lnTo>
                <a:lnTo>
                  <a:pt x="2568" y="1280"/>
                </a:lnTo>
                <a:lnTo>
                  <a:pt x="2578" y="1278"/>
                </a:lnTo>
                <a:lnTo>
                  <a:pt x="2587" y="1275"/>
                </a:lnTo>
                <a:lnTo>
                  <a:pt x="2596" y="1272"/>
                </a:lnTo>
                <a:lnTo>
                  <a:pt x="2600" y="1271"/>
                </a:lnTo>
                <a:lnTo>
                  <a:pt x="2605" y="1269"/>
                </a:lnTo>
                <a:lnTo>
                  <a:pt x="2613" y="1264"/>
                </a:lnTo>
                <a:lnTo>
                  <a:pt x="2622" y="1260"/>
                </a:lnTo>
                <a:lnTo>
                  <a:pt x="2630" y="1255"/>
                </a:lnTo>
                <a:lnTo>
                  <a:pt x="2637" y="1249"/>
                </a:lnTo>
                <a:lnTo>
                  <a:pt x="2644" y="1243"/>
                </a:lnTo>
                <a:lnTo>
                  <a:pt x="2651" y="1236"/>
                </a:lnTo>
                <a:lnTo>
                  <a:pt x="2658" y="1229"/>
                </a:lnTo>
                <a:lnTo>
                  <a:pt x="2664" y="1221"/>
                </a:lnTo>
                <a:lnTo>
                  <a:pt x="2670" y="1213"/>
                </a:lnTo>
                <a:lnTo>
                  <a:pt x="2676" y="1204"/>
                </a:lnTo>
                <a:lnTo>
                  <a:pt x="2681" y="1195"/>
                </a:lnTo>
                <a:lnTo>
                  <a:pt x="2686" y="1185"/>
                </a:lnTo>
                <a:lnTo>
                  <a:pt x="2691" y="1175"/>
                </a:lnTo>
                <a:lnTo>
                  <a:pt x="2695" y="1165"/>
                </a:lnTo>
                <a:lnTo>
                  <a:pt x="2699" y="1154"/>
                </a:lnTo>
                <a:lnTo>
                  <a:pt x="2703" y="1142"/>
                </a:lnTo>
                <a:lnTo>
                  <a:pt x="2706" y="1131"/>
                </a:lnTo>
                <a:lnTo>
                  <a:pt x="2709" y="1118"/>
                </a:lnTo>
                <a:lnTo>
                  <a:pt x="2711" y="1106"/>
                </a:lnTo>
                <a:lnTo>
                  <a:pt x="2713" y="1093"/>
                </a:lnTo>
                <a:lnTo>
                  <a:pt x="2715" y="1079"/>
                </a:lnTo>
                <a:lnTo>
                  <a:pt x="2717" y="1065"/>
                </a:lnTo>
                <a:lnTo>
                  <a:pt x="2718" y="1051"/>
                </a:lnTo>
                <a:lnTo>
                  <a:pt x="2718" y="1037"/>
                </a:lnTo>
                <a:lnTo>
                  <a:pt x="2718" y="1022"/>
                </a:lnTo>
                <a:close/>
                <a:moveTo>
                  <a:pt x="5165" y="1037"/>
                </a:moveTo>
                <a:lnTo>
                  <a:pt x="5165" y="570"/>
                </a:lnTo>
                <a:lnTo>
                  <a:pt x="4907" y="570"/>
                </a:lnTo>
                <a:lnTo>
                  <a:pt x="4907" y="1037"/>
                </a:lnTo>
                <a:lnTo>
                  <a:pt x="4906" y="1070"/>
                </a:lnTo>
                <a:lnTo>
                  <a:pt x="4905" y="1100"/>
                </a:lnTo>
                <a:lnTo>
                  <a:pt x="4904" y="1114"/>
                </a:lnTo>
                <a:lnTo>
                  <a:pt x="4903" y="1127"/>
                </a:lnTo>
                <a:lnTo>
                  <a:pt x="4900" y="1152"/>
                </a:lnTo>
                <a:lnTo>
                  <a:pt x="4895" y="1174"/>
                </a:lnTo>
                <a:lnTo>
                  <a:pt x="4890" y="1194"/>
                </a:lnTo>
                <a:lnTo>
                  <a:pt x="4887" y="1203"/>
                </a:lnTo>
                <a:lnTo>
                  <a:pt x="4883" y="1211"/>
                </a:lnTo>
                <a:lnTo>
                  <a:pt x="4879" y="1219"/>
                </a:lnTo>
                <a:lnTo>
                  <a:pt x="4875" y="1226"/>
                </a:lnTo>
                <a:lnTo>
                  <a:pt x="4866" y="1240"/>
                </a:lnTo>
                <a:lnTo>
                  <a:pt x="4860" y="1245"/>
                </a:lnTo>
                <a:lnTo>
                  <a:pt x="4855" y="1251"/>
                </a:lnTo>
                <a:lnTo>
                  <a:pt x="4849" y="1255"/>
                </a:lnTo>
                <a:lnTo>
                  <a:pt x="4843" y="1260"/>
                </a:lnTo>
                <a:lnTo>
                  <a:pt x="4836" y="1264"/>
                </a:lnTo>
                <a:lnTo>
                  <a:pt x="4829" y="1267"/>
                </a:lnTo>
                <a:lnTo>
                  <a:pt x="4821" y="1270"/>
                </a:lnTo>
                <a:lnTo>
                  <a:pt x="4813" y="1273"/>
                </a:lnTo>
                <a:lnTo>
                  <a:pt x="4805" y="1275"/>
                </a:lnTo>
                <a:lnTo>
                  <a:pt x="4796" y="1276"/>
                </a:lnTo>
                <a:lnTo>
                  <a:pt x="4787" y="1278"/>
                </a:lnTo>
                <a:lnTo>
                  <a:pt x="4777" y="1279"/>
                </a:lnTo>
                <a:lnTo>
                  <a:pt x="4767" y="1279"/>
                </a:lnTo>
                <a:lnTo>
                  <a:pt x="4757" y="1279"/>
                </a:lnTo>
                <a:lnTo>
                  <a:pt x="4746" y="1279"/>
                </a:lnTo>
                <a:lnTo>
                  <a:pt x="4735" y="1279"/>
                </a:lnTo>
                <a:lnTo>
                  <a:pt x="4725" y="1278"/>
                </a:lnTo>
                <a:lnTo>
                  <a:pt x="4715" y="1276"/>
                </a:lnTo>
                <a:lnTo>
                  <a:pt x="4706" y="1275"/>
                </a:lnTo>
                <a:lnTo>
                  <a:pt x="4697" y="1273"/>
                </a:lnTo>
                <a:lnTo>
                  <a:pt x="4689" y="1270"/>
                </a:lnTo>
                <a:lnTo>
                  <a:pt x="4681" y="1267"/>
                </a:lnTo>
                <a:lnTo>
                  <a:pt x="4674" y="1264"/>
                </a:lnTo>
                <a:lnTo>
                  <a:pt x="4667" y="1260"/>
                </a:lnTo>
                <a:lnTo>
                  <a:pt x="4660" y="1256"/>
                </a:lnTo>
                <a:lnTo>
                  <a:pt x="4654" y="1251"/>
                </a:lnTo>
                <a:lnTo>
                  <a:pt x="4648" y="1246"/>
                </a:lnTo>
                <a:lnTo>
                  <a:pt x="4642" y="1241"/>
                </a:lnTo>
                <a:lnTo>
                  <a:pt x="4637" y="1235"/>
                </a:lnTo>
                <a:lnTo>
                  <a:pt x="4632" y="1228"/>
                </a:lnTo>
                <a:lnTo>
                  <a:pt x="4627" y="1221"/>
                </a:lnTo>
                <a:lnTo>
                  <a:pt x="4623" y="1214"/>
                </a:lnTo>
                <a:lnTo>
                  <a:pt x="4619" y="1206"/>
                </a:lnTo>
                <a:lnTo>
                  <a:pt x="4616" y="1197"/>
                </a:lnTo>
                <a:lnTo>
                  <a:pt x="4613" y="1188"/>
                </a:lnTo>
                <a:lnTo>
                  <a:pt x="4610" y="1179"/>
                </a:lnTo>
                <a:lnTo>
                  <a:pt x="4607" y="1169"/>
                </a:lnTo>
                <a:lnTo>
                  <a:pt x="4605" y="1158"/>
                </a:lnTo>
                <a:lnTo>
                  <a:pt x="4603" y="1147"/>
                </a:lnTo>
                <a:lnTo>
                  <a:pt x="4601" y="1135"/>
                </a:lnTo>
                <a:lnTo>
                  <a:pt x="4600" y="1123"/>
                </a:lnTo>
                <a:lnTo>
                  <a:pt x="4599" y="1110"/>
                </a:lnTo>
                <a:lnTo>
                  <a:pt x="4598" y="1096"/>
                </a:lnTo>
                <a:lnTo>
                  <a:pt x="4597" y="1082"/>
                </a:lnTo>
                <a:lnTo>
                  <a:pt x="4597" y="1052"/>
                </a:lnTo>
                <a:lnTo>
                  <a:pt x="4597" y="570"/>
                </a:lnTo>
                <a:lnTo>
                  <a:pt x="4338" y="570"/>
                </a:lnTo>
                <a:lnTo>
                  <a:pt x="4338" y="1048"/>
                </a:lnTo>
                <a:lnTo>
                  <a:pt x="4339" y="1067"/>
                </a:lnTo>
                <a:lnTo>
                  <a:pt x="4339" y="1084"/>
                </a:lnTo>
                <a:lnTo>
                  <a:pt x="4340" y="1118"/>
                </a:lnTo>
                <a:lnTo>
                  <a:pt x="4342" y="1149"/>
                </a:lnTo>
                <a:lnTo>
                  <a:pt x="4345" y="1178"/>
                </a:lnTo>
                <a:lnTo>
                  <a:pt x="4347" y="1192"/>
                </a:lnTo>
                <a:lnTo>
                  <a:pt x="4349" y="1205"/>
                </a:lnTo>
                <a:lnTo>
                  <a:pt x="4353" y="1230"/>
                </a:lnTo>
                <a:lnTo>
                  <a:pt x="4356" y="1242"/>
                </a:lnTo>
                <a:lnTo>
                  <a:pt x="4359" y="1254"/>
                </a:lnTo>
                <a:lnTo>
                  <a:pt x="4362" y="1265"/>
                </a:lnTo>
                <a:lnTo>
                  <a:pt x="4366" y="1275"/>
                </a:lnTo>
                <a:lnTo>
                  <a:pt x="4373" y="1296"/>
                </a:lnTo>
                <a:lnTo>
                  <a:pt x="4382" y="1315"/>
                </a:lnTo>
                <a:lnTo>
                  <a:pt x="4392" y="1333"/>
                </a:lnTo>
                <a:lnTo>
                  <a:pt x="4398" y="1341"/>
                </a:lnTo>
                <a:lnTo>
                  <a:pt x="4404" y="1350"/>
                </a:lnTo>
                <a:lnTo>
                  <a:pt x="4410" y="1358"/>
                </a:lnTo>
                <a:lnTo>
                  <a:pt x="4416" y="1366"/>
                </a:lnTo>
                <a:lnTo>
                  <a:pt x="4423" y="1373"/>
                </a:lnTo>
                <a:lnTo>
                  <a:pt x="4430" y="1381"/>
                </a:lnTo>
                <a:lnTo>
                  <a:pt x="4437" y="1388"/>
                </a:lnTo>
                <a:lnTo>
                  <a:pt x="4445" y="1396"/>
                </a:lnTo>
                <a:lnTo>
                  <a:pt x="4461" y="1410"/>
                </a:lnTo>
                <a:lnTo>
                  <a:pt x="4475" y="1421"/>
                </a:lnTo>
                <a:lnTo>
                  <a:pt x="4489" y="1431"/>
                </a:lnTo>
                <a:lnTo>
                  <a:pt x="4505" y="1440"/>
                </a:lnTo>
                <a:lnTo>
                  <a:pt x="4520" y="1449"/>
                </a:lnTo>
                <a:lnTo>
                  <a:pt x="4537" y="1457"/>
                </a:lnTo>
                <a:lnTo>
                  <a:pt x="4554" y="1464"/>
                </a:lnTo>
                <a:lnTo>
                  <a:pt x="4572" y="1471"/>
                </a:lnTo>
                <a:lnTo>
                  <a:pt x="4590" y="1477"/>
                </a:lnTo>
                <a:lnTo>
                  <a:pt x="4609" y="1482"/>
                </a:lnTo>
                <a:lnTo>
                  <a:pt x="4619" y="1484"/>
                </a:lnTo>
                <a:lnTo>
                  <a:pt x="4628" y="1486"/>
                </a:lnTo>
                <a:lnTo>
                  <a:pt x="4638" y="1489"/>
                </a:lnTo>
                <a:lnTo>
                  <a:pt x="4648" y="1490"/>
                </a:lnTo>
                <a:lnTo>
                  <a:pt x="4669" y="1494"/>
                </a:lnTo>
                <a:lnTo>
                  <a:pt x="4689" y="1496"/>
                </a:lnTo>
                <a:lnTo>
                  <a:pt x="4711" y="1498"/>
                </a:lnTo>
                <a:lnTo>
                  <a:pt x="4732" y="1499"/>
                </a:lnTo>
                <a:lnTo>
                  <a:pt x="4755" y="1499"/>
                </a:lnTo>
                <a:lnTo>
                  <a:pt x="4781" y="1499"/>
                </a:lnTo>
                <a:lnTo>
                  <a:pt x="4806" y="1497"/>
                </a:lnTo>
                <a:lnTo>
                  <a:pt x="4818" y="1496"/>
                </a:lnTo>
                <a:lnTo>
                  <a:pt x="4831" y="1494"/>
                </a:lnTo>
                <a:lnTo>
                  <a:pt x="4855" y="1491"/>
                </a:lnTo>
                <a:lnTo>
                  <a:pt x="4878" y="1486"/>
                </a:lnTo>
                <a:lnTo>
                  <a:pt x="4900" y="1480"/>
                </a:lnTo>
                <a:lnTo>
                  <a:pt x="4911" y="1477"/>
                </a:lnTo>
                <a:lnTo>
                  <a:pt x="4922" y="1474"/>
                </a:lnTo>
                <a:lnTo>
                  <a:pt x="4943" y="1466"/>
                </a:lnTo>
                <a:lnTo>
                  <a:pt x="4953" y="1462"/>
                </a:lnTo>
                <a:lnTo>
                  <a:pt x="4963" y="1457"/>
                </a:lnTo>
                <a:lnTo>
                  <a:pt x="4983" y="1448"/>
                </a:lnTo>
                <a:lnTo>
                  <a:pt x="5001" y="1437"/>
                </a:lnTo>
                <a:lnTo>
                  <a:pt x="5019" y="1426"/>
                </a:lnTo>
                <a:lnTo>
                  <a:pt x="5036" y="1413"/>
                </a:lnTo>
                <a:lnTo>
                  <a:pt x="5044" y="1407"/>
                </a:lnTo>
                <a:lnTo>
                  <a:pt x="5052" y="1400"/>
                </a:lnTo>
                <a:lnTo>
                  <a:pt x="5059" y="1393"/>
                </a:lnTo>
                <a:lnTo>
                  <a:pt x="5066" y="1386"/>
                </a:lnTo>
                <a:lnTo>
                  <a:pt x="5080" y="1370"/>
                </a:lnTo>
                <a:lnTo>
                  <a:pt x="5091" y="1357"/>
                </a:lnTo>
                <a:lnTo>
                  <a:pt x="5096" y="1350"/>
                </a:lnTo>
                <a:lnTo>
                  <a:pt x="5101" y="1344"/>
                </a:lnTo>
                <a:lnTo>
                  <a:pt x="5106" y="1336"/>
                </a:lnTo>
                <a:lnTo>
                  <a:pt x="5110" y="1329"/>
                </a:lnTo>
                <a:lnTo>
                  <a:pt x="5118" y="1314"/>
                </a:lnTo>
                <a:lnTo>
                  <a:pt x="5126" y="1298"/>
                </a:lnTo>
                <a:lnTo>
                  <a:pt x="5133" y="1280"/>
                </a:lnTo>
                <a:lnTo>
                  <a:pt x="5139" y="1262"/>
                </a:lnTo>
                <a:lnTo>
                  <a:pt x="5145" y="1243"/>
                </a:lnTo>
                <a:lnTo>
                  <a:pt x="5150" y="1222"/>
                </a:lnTo>
                <a:lnTo>
                  <a:pt x="5154" y="1200"/>
                </a:lnTo>
                <a:lnTo>
                  <a:pt x="5157" y="1177"/>
                </a:lnTo>
                <a:lnTo>
                  <a:pt x="5160" y="1152"/>
                </a:lnTo>
                <a:lnTo>
                  <a:pt x="5162" y="1126"/>
                </a:lnTo>
                <a:lnTo>
                  <a:pt x="5163" y="1112"/>
                </a:lnTo>
                <a:lnTo>
                  <a:pt x="5164" y="1098"/>
                </a:lnTo>
                <a:lnTo>
                  <a:pt x="5165" y="1068"/>
                </a:lnTo>
                <a:lnTo>
                  <a:pt x="5165" y="1037"/>
                </a:lnTo>
                <a:close/>
                <a:moveTo>
                  <a:pt x="6630" y="1478"/>
                </a:moveTo>
                <a:lnTo>
                  <a:pt x="6630" y="957"/>
                </a:lnTo>
                <a:lnTo>
                  <a:pt x="6629" y="905"/>
                </a:lnTo>
                <a:lnTo>
                  <a:pt x="6629" y="881"/>
                </a:lnTo>
                <a:lnTo>
                  <a:pt x="6628" y="859"/>
                </a:lnTo>
                <a:lnTo>
                  <a:pt x="6626" y="838"/>
                </a:lnTo>
                <a:lnTo>
                  <a:pt x="6625" y="819"/>
                </a:lnTo>
                <a:lnTo>
                  <a:pt x="6623" y="801"/>
                </a:lnTo>
                <a:lnTo>
                  <a:pt x="6620" y="784"/>
                </a:lnTo>
                <a:lnTo>
                  <a:pt x="6617" y="767"/>
                </a:lnTo>
                <a:lnTo>
                  <a:pt x="6614" y="752"/>
                </a:lnTo>
                <a:lnTo>
                  <a:pt x="6611" y="738"/>
                </a:lnTo>
                <a:lnTo>
                  <a:pt x="6607" y="725"/>
                </a:lnTo>
                <a:lnTo>
                  <a:pt x="6602" y="713"/>
                </a:lnTo>
                <a:lnTo>
                  <a:pt x="6597" y="701"/>
                </a:lnTo>
                <a:lnTo>
                  <a:pt x="6592" y="690"/>
                </a:lnTo>
                <a:lnTo>
                  <a:pt x="6586" y="680"/>
                </a:lnTo>
                <a:lnTo>
                  <a:pt x="6582" y="672"/>
                </a:lnTo>
                <a:lnTo>
                  <a:pt x="6577" y="665"/>
                </a:lnTo>
                <a:lnTo>
                  <a:pt x="6567" y="651"/>
                </a:lnTo>
                <a:lnTo>
                  <a:pt x="6561" y="645"/>
                </a:lnTo>
                <a:lnTo>
                  <a:pt x="6556" y="638"/>
                </a:lnTo>
                <a:lnTo>
                  <a:pt x="6543" y="626"/>
                </a:lnTo>
                <a:lnTo>
                  <a:pt x="6530" y="615"/>
                </a:lnTo>
                <a:lnTo>
                  <a:pt x="6523" y="609"/>
                </a:lnTo>
                <a:lnTo>
                  <a:pt x="6516" y="604"/>
                </a:lnTo>
                <a:lnTo>
                  <a:pt x="6501" y="594"/>
                </a:lnTo>
                <a:lnTo>
                  <a:pt x="6485" y="586"/>
                </a:lnTo>
                <a:lnTo>
                  <a:pt x="6477" y="582"/>
                </a:lnTo>
                <a:lnTo>
                  <a:pt x="6468" y="578"/>
                </a:lnTo>
                <a:lnTo>
                  <a:pt x="6451" y="571"/>
                </a:lnTo>
                <a:lnTo>
                  <a:pt x="6433" y="565"/>
                </a:lnTo>
                <a:lnTo>
                  <a:pt x="6414" y="560"/>
                </a:lnTo>
                <a:lnTo>
                  <a:pt x="6405" y="558"/>
                </a:lnTo>
                <a:lnTo>
                  <a:pt x="6395" y="556"/>
                </a:lnTo>
                <a:lnTo>
                  <a:pt x="6375" y="553"/>
                </a:lnTo>
                <a:lnTo>
                  <a:pt x="6355" y="552"/>
                </a:lnTo>
                <a:lnTo>
                  <a:pt x="6345" y="551"/>
                </a:lnTo>
                <a:lnTo>
                  <a:pt x="6335" y="551"/>
                </a:lnTo>
                <a:lnTo>
                  <a:pt x="6322" y="551"/>
                </a:lnTo>
                <a:lnTo>
                  <a:pt x="6310" y="552"/>
                </a:lnTo>
                <a:lnTo>
                  <a:pt x="6298" y="553"/>
                </a:lnTo>
                <a:lnTo>
                  <a:pt x="6286" y="554"/>
                </a:lnTo>
                <a:lnTo>
                  <a:pt x="6275" y="556"/>
                </a:lnTo>
                <a:lnTo>
                  <a:pt x="6264" y="558"/>
                </a:lnTo>
                <a:lnTo>
                  <a:pt x="6253" y="561"/>
                </a:lnTo>
                <a:lnTo>
                  <a:pt x="6242" y="564"/>
                </a:lnTo>
                <a:lnTo>
                  <a:pt x="6231" y="567"/>
                </a:lnTo>
                <a:lnTo>
                  <a:pt x="6221" y="571"/>
                </a:lnTo>
                <a:lnTo>
                  <a:pt x="6211" y="575"/>
                </a:lnTo>
                <a:lnTo>
                  <a:pt x="6201" y="580"/>
                </a:lnTo>
                <a:lnTo>
                  <a:pt x="6191" y="585"/>
                </a:lnTo>
                <a:lnTo>
                  <a:pt x="6181" y="590"/>
                </a:lnTo>
                <a:lnTo>
                  <a:pt x="6172" y="596"/>
                </a:lnTo>
                <a:lnTo>
                  <a:pt x="6163" y="602"/>
                </a:lnTo>
                <a:lnTo>
                  <a:pt x="6154" y="609"/>
                </a:lnTo>
                <a:lnTo>
                  <a:pt x="6146" y="616"/>
                </a:lnTo>
                <a:lnTo>
                  <a:pt x="6137" y="624"/>
                </a:lnTo>
                <a:lnTo>
                  <a:pt x="6129" y="632"/>
                </a:lnTo>
                <a:lnTo>
                  <a:pt x="6121" y="640"/>
                </a:lnTo>
                <a:lnTo>
                  <a:pt x="6113" y="649"/>
                </a:lnTo>
                <a:lnTo>
                  <a:pt x="6105" y="658"/>
                </a:lnTo>
                <a:lnTo>
                  <a:pt x="6098" y="668"/>
                </a:lnTo>
                <a:lnTo>
                  <a:pt x="6091" y="678"/>
                </a:lnTo>
                <a:lnTo>
                  <a:pt x="6084" y="688"/>
                </a:lnTo>
                <a:lnTo>
                  <a:pt x="6077" y="699"/>
                </a:lnTo>
                <a:lnTo>
                  <a:pt x="6070" y="711"/>
                </a:lnTo>
                <a:lnTo>
                  <a:pt x="6064" y="723"/>
                </a:lnTo>
                <a:lnTo>
                  <a:pt x="6057" y="735"/>
                </a:lnTo>
                <a:lnTo>
                  <a:pt x="6051" y="748"/>
                </a:lnTo>
                <a:lnTo>
                  <a:pt x="6045" y="761"/>
                </a:lnTo>
                <a:lnTo>
                  <a:pt x="6039" y="736"/>
                </a:lnTo>
                <a:lnTo>
                  <a:pt x="6035" y="724"/>
                </a:lnTo>
                <a:lnTo>
                  <a:pt x="6031" y="712"/>
                </a:lnTo>
                <a:lnTo>
                  <a:pt x="6022" y="690"/>
                </a:lnTo>
                <a:lnTo>
                  <a:pt x="6017" y="679"/>
                </a:lnTo>
                <a:lnTo>
                  <a:pt x="6012" y="669"/>
                </a:lnTo>
                <a:lnTo>
                  <a:pt x="6001" y="650"/>
                </a:lnTo>
                <a:lnTo>
                  <a:pt x="5995" y="642"/>
                </a:lnTo>
                <a:lnTo>
                  <a:pt x="5989" y="633"/>
                </a:lnTo>
                <a:lnTo>
                  <a:pt x="5982" y="625"/>
                </a:lnTo>
                <a:lnTo>
                  <a:pt x="5975" y="618"/>
                </a:lnTo>
                <a:lnTo>
                  <a:pt x="5968" y="610"/>
                </a:lnTo>
                <a:lnTo>
                  <a:pt x="5961" y="604"/>
                </a:lnTo>
                <a:lnTo>
                  <a:pt x="5953" y="597"/>
                </a:lnTo>
                <a:lnTo>
                  <a:pt x="5945" y="591"/>
                </a:lnTo>
                <a:lnTo>
                  <a:pt x="5937" y="586"/>
                </a:lnTo>
                <a:lnTo>
                  <a:pt x="5928" y="581"/>
                </a:lnTo>
                <a:lnTo>
                  <a:pt x="5919" y="576"/>
                </a:lnTo>
                <a:lnTo>
                  <a:pt x="5910" y="572"/>
                </a:lnTo>
                <a:lnTo>
                  <a:pt x="5900" y="568"/>
                </a:lnTo>
                <a:lnTo>
                  <a:pt x="5890" y="564"/>
                </a:lnTo>
                <a:lnTo>
                  <a:pt x="5880" y="561"/>
                </a:lnTo>
                <a:lnTo>
                  <a:pt x="5870" y="558"/>
                </a:lnTo>
                <a:lnTo>
                  <a:pt x="5859" y="556"/>
                </a:lnTo>
                <a:lnTo>
                  <a:pt x="5848" y="554"/>
                </a:lnTo>
                <a:lnTo>
                  <a:pt x="5837" y="553"/>
                </a:lnTo>
                <a:lnTo>
                  <a:pt x="5825" y="552"/>
                </a:lnTo>
                <a:lnTo>
                  <a:pt x="5813" y="551"/>
                </a:lnTo>
                <a:lnTo>
                  <a:pt x="5801" y="551"/>
                </a:lnTo>
                <a:lnTo>
                  <a:pt x="5775" y="552"/>
                </a:lnTo>
                <a:lnTo>
                  <a:pt x="5763" y="553"/>
                </a:lnTo>
                <a:lnTo>
                  <a:pt x="5751" y="554"/>
                </a:lnTo>
                <a:lnTo>
                  <a:pt x="5740" y="556"/>
                </a:lnTo>
                <a:lnTo>
                  <a:pt x="5729" y="558"/>
                </a:lnTo>
                <a:lnTo>
                  <a:pt x="5718" y="560"/>
                </a:lnTo>
                <a:lnTo>
                  <a:pt x="5707" y="563"/>
                </a:lnTo>
                <a:lnTo>
                  <a:pt x="5697" y="567"/>
                </a:lnTo>
                <a:lnTo>
                  <a:pt x="5687" y="570"/>
                </a:lnTo>
                <a:lnTo>
                  <a:pt x="5677" y="574"/>
                </a:lnTo>
                <a:lnTo>
                  <a:pt x="5667" y="579"/>
                </a:lnTo>
                <a:lnTo>
                  <a:pt x="5658" y="584"/>
                </a:lnTo>
                <a:lnTo>
                  <a:pt x="5649" y="589"/>
                </a:lnTo>
                <a:lnTo>
                  <a:pt x="5640" y="595"/>
                </a:lnTo>
                <a:lnTo>
                  <a:pt x="5631" y="601"/>
                </a:lnTo>
                <a:lnTo>
                  <a:pt x="5622" y="607"/>
                </a:lnTo>
                <a:lnTo>
                  <a:pt x="5614" y="614"/>
                </a:lnTo>
                <a:lnTo>
                  <a:pt x="5606" y="622"/>
                </a:lnTo>
                <a:lnTo>
                  <a:pt x="5598" y="629"/>
                </a:lnTo>
                <a:lnTo>
                  <a:pt x="5590" y="637"/>
                </a:lnTo>
                <a:lnTo>
                  <a:pt x="5582" y="646"/>
                </a:lnTo>
                <a:lnTo>
                  <a:pt x="5575" y="655"/>
                </a:lnTo>
                <a:lnTo>
                  <a:pt x="5568" y="665"/>
                </a:lnTo>
                <a:lnTo>
                  <a:pt x="5553" y="685"/>
                </a:lnTo>
                <a:lnTo>
                  <a:pt x="5546" y="695"/>
                </a:lnTo>
                <a:lnTo>
                  <a:pt x="5540" y="707"/>
                </a:lnTo>
                <a:lnTo>
                  <a:pt x="5533" y="718"/>
                </a:lnTo>
                <a:lnTo>
                  <a:pt x="5526" y="730"/>
                </a:lnTo>
                <a:lnTo>
                  <a:pt x="5513" y="756"/>
                </a:lnTo>
                <a:lnTo>
                  <a:pt x="5513" y="570"/>
                </a:lnTo>
                <a:lnTo>
                  <a:pt x="5264" y="570"/>
                </a:lnTo>
                <a:lnTo>
                  <a:pt x="5264" y="1024"/>
                </a:lnTo>
                <a:lnTo>
                  <a:pt x="5264" y="1478"/>
                </a:lnTo>
                <a:lnTo>
                  <a:pt x="5523" y="1478"/>
                </a:lnTo>
                <a:lnTo>
                  <a:pt x="5523" y="1057"/>
                </a:lnTo>
                <a:lnTo>
                  <a:pt x="5523" y="1035"/>
                </a:lnTo>
                <a:lnTo>
                  <a:pt x="5523" y="1015"/>
                </a:lnTo>
                <a:lnTo>
                  <a:pt x="5524" y="997"/>
                </a:lnTo>
                <a:lnTo>
                  <a:pt x="5525" y="988"/>
                </a:lnTo>
                <a:lnTo>
                  <a:pt x="5526" y="979"/>
                </a:lnTo>
                <a:lnTo>
                  <a:pt x="5528" y="963"/>
                </a:lnTo>
                <a:lnTo>
                  <a:pt x="5530" y="948"/>
                </a:lnTo>
                <a:lnTo>
                  <a:pt x="5533" y="935"/>
                </a:lnTo>
                <a:lnTo>
                  <a:pt x="5536" y="922"/>
                </a:lnTo>
                <a:lnTo>
                  <a:pt x="5541" y="907"/>
                </a:lnTo>
                <a:lnTo>
                  <a:pt x="5546" y="893"/>
                </a:lnTo>
                <a:lnTo>
                  <a:pt x="5552" y="879"/>
                </a:lnTo>
                <a:lnTo>
                  <a:pt x="5559" y="867"/>
                </a:lnTo>
                <a:lnTo>
                  <a:pt x="5567" y="855"/>
                </a:lnTo>
                <a:lnTo>
                  <a:pt x="5575" y="844"/>
                </a:lnTo>
                <a:lnTo>
                  <a:pt x="5584" y="834"/>
                </a:lnTo>
                <a:lnTo>
                  <a:pt x="5593" y="824"/>
                </a:lnTo>
                <a:lnTo>
                  <a:pt x="5598" y="820"/>
                </a:lnTo>
                <a:lnTo>
                  <a:pt x="5603" y="816"/>
                </a:lnTo>
                <a:lnTo>
                  <a:pt x="5614" y="809"/>
                </a:lnTo>
                <a:lnTo>
                  <a:pt x="5625" y="802"/>
                </a:lnTo>
                <a:lnTo>
                  <a:pt x="5631" y="800"/>
                </a:lnTo>
                <a:lnTo>
                  <a:pt x="5636" y="797"/>
                </a:lnTo>
                <a:lnTo>
                  <a:pt x="5648" y="793"/>
                </a:lnTo>
                <a:lnTo>
                  <a:pt x="5661" y="790"/>
                </a:lnTo>
                <a:lnTo>
                  <a:pt x="5667" y="789"/>
                </a:lnTo>
                <a:lnTo>
                  <a:pt x="5673" y="788"/>
                </a:lnTo>
                <a:lnTo>
                  <a:pt x="5680" y="788"/>
                </a:lnTo>
                <a:lnTo>
                  <a:pt x="5686" y="788"/>
                </a:lnTo>
                <a:lnTo>
                  <a:pt x="5696" y="788"/>
                </a:lnTo>
                <a:lnTo>
                  <a:pt x="5705" y="789"/>
                </a:lnTo>
                <a:lnTo>
                  <a:pt x="5714" y="790"/>
                </a:lnTo>
                <a:lnTo>
                  <a:pt x="5723" y="793"/>
                </a:lnTo>
                <a:lnTo>
                  <a:pt x="5732" y="795"/>
                </a:lnTo>
                <a:lnTo>
                  <a:pt x="5739" y="799"/>
                </a:lnTo>
                <a:lnTo>
                  <a:pt x="5747" y="802"/>
                </a:lnTo>
                <a:lnTo>
                  <a:pt x="5754" y="807"/>
                </a:lnTo>
                <a:lnTo>
                  <a:pt x="5761" y="812"/>
                </a:lnTo>
                <a:lnTo>
                  <a:pt x="5767" y="817"/>
                </a:lnTo>
                <a:lnTo>
                  <a:pt x="5773" y="823"/>
                </a:lnTo>
                <a:lnTo>
                  <a:pt x="5779" y="830"/>
                </a:lnTo>
                <a:lnTo>
                  <a:pt x="5784" y="837"/>
                </a:lnTo>
                <a:lnTo>
                  <a:pt x="5789" y="845"/>
                </a:lnTo>
                <a:lnTo>
                  <a:pt x="5793" y="853"/>
                </a:lnTo>
                <a:lnTo>
                  <a:pt x="5797" y="861"/>
                </a:lnTo>
                <a:lnTo>
                  <a:pt x="5800" y="868"/>
                </a:lnTo>
                <a:lnTo>
                  <a:pt x="5802" y="875"/>
                </a:lnTo>
                <a:lnTo>
                  <a:pt x="5806" y="890"/>
                </a:lnTo>
                <a:lnTo>
                  <a:pt x="5809" y="906"/>
                </a:lnTo>
                <a:lnTo>
                  <a:pt x="5812" y="924"/>
                </a:lnTo>
                <a:lnTo>
                  <a:pt x="5814" y="945"/>
                </a:lnTo>
                <a:lnTo>
                  <a:pt x="5816" y="969"/>
                </a:lnTo>
                <a:lnTo>
                  <a:pt x="5816" y="981"/>
                </a:lnTo>
                <a:lnTo>
                  <a:pt x="5816" y="995"/>
                </a:lnTo>
                <a:lnTo>
                  <a:pt x="5817" y="1024"/>
                </a:lnTo>
                <a:lnTo>
                  <a:pt x="5817" y="1478"/>
                </a:lnTo>
                <a:lnTo>
                  <a:pt x="6077" y="1478"/>
                </a:lnTo>
                <a:lnTo>
                  <a:pt x="6077" y="1041"/>
                </a:lnTo>
                <a:lnTo>
                  <a:pt x="6077" y="1026"/>
                </a:lnTo>
                <a:lnTo>
                  <a:pt x="6077" y="1011"/>
                </a:lnTo>
                <a:lnTo>
                  <a:pt x="6078" y="997"/>
                </a:lnTo>
                <a:lnTo>
                  <a:pt x="6079" y="983"/>
                </a:lnTo>
                <a:lnTo>
                  <a:pt x="6081" y="970"/>
                </a:lnTo>
                <a:lnTo>
                  <a:pt x="6083" y="957"/>
                </a:lnTo>
                <a:lnTo>
                  <a:pt x="6085" y="944"/>
                </a:lnTo>
                <a:lnTo>
                  <a:pt x="6087" y="932"/>
                </a:lnTo>
                <a:lnTo>
                  <a:pt x="6093" y="910"/>
                </a:lnTo>
                <a:lnTo>
                  <a:pt x="6096" y="899"/>
                </a:lnTo>
                <a:lnTo>
                  <a:pt x="6100" y="889"/>
                </a:lnTo>
                <a:lnTo>
                  <a:pt x="6104" y="879"/>
                </a:lnTo>
                <a:lnTo>
                  <a:pt x="6108" y="870"/>
                </a:lnTo>
                <a:lnTo>
                  <a:pt x="6113" y="861"/>
                </a:lnTo>
                <a:lnTo>
                  <a:pt x="6118" y="853"/>
                </a:lnTo>
                <a:lnTo>
                  <a:pt x="6123" y="845"/>
                </a:lnTo>
                <a:lnTo>
                  <a:pt x="6129" y="838"/>
                </a:lnTo>
                <a:lnTo>
                  <a:pt x="6135" y="831"/>
                </a:lnTo>
                <a:lnTo>
                  <a:pt x="6141" y="824"/>
                </a:lnTo>
                <a:lnTo>
                  <a:pt x="6148" y="819"/>
                </a:lnTo>
                <a:lnTo>
                  <a:pt x="6155" y="813"/>
                </a:lnTo>
                <a:lnTo>
                  <a:pt x="6162" y="808"/>
                </a:lnTo>
                <a:lnTo>
                  <a:pt x="6169" y="804"/>
                </a:lnTo>
                <a:lnTo>
                  <a:pt x="6177" y="800"/>
                </a:lnTo>
                <a:lnTo>
                  <a:pt x="6185" y="797"/>
                </a:lnTo>
                <a:lnTo>
                  <a:pt x="6194" y="794"/>
                </a:lnTo>
                <a:lnTo>
                  <a:pt x="6202" y="792"/>
                </a:lnTo>
                <a:lnTo>
                  <a:pt x="6211" y="790"/>
                </a:lnTo>
                <a:lnTo>
                  <a:pt x="6221" y="789"/>
                </a:lnTo>
                <a:lnTo>
                  <a:pt x="6230" y="788"/>
                </a:lnTo>
                <a:lnTo>
                  <a:pt x="6240" y="788"/>
                </a:lnTo>
                <a:lnTo>
                  <a:pt x="6252" y="788"/>
                </a:lnTo>
                <a:lnTo>
                  <a:pt x="6263" y="789"/>
                </a:lnTo>
                <a:lnTo>
                  <a:pt x="6273" y="791"/>
                </a:lnTo>
                <a:lnTo>
                  <a:pt x="6283" y="793"/>
                </a:lnTo>
                <a:lnTo>
                  <a:pt x="6293" y="796"/>
                </a:lnTo>
                <a:lnTo>
                  <a:pt x="6302" y="800"/>
                </a:lnTo>
                <a:lnTo>
                  <a:pt x="6306" y="802"/>
                </a:lnTo>
                <a:lnTo>
                  <a:pt x="6310" y="804"/>
                </a:lnTo>
                <a:lnTo>
                  <a:pt x="6318" y="809"/>
                </a:lnTo>
                <a:lnTo>
                  <a:pt x="6325" y="815"/>
                </a:lnTo>
                <a:lnTo>
                  <a:pt x="6332" y="821"/>
                </a:lnTo>
                <a:lnTo>
                  <a:pt x="6338" y="829"/>
                </a:lnTo>
                <a:lnTo>
                  <a:pt x="6344" y="837"/>
                </a:lnTo>
                <a:lnTo>
                  <a:pt x="6349" y="845"/>
                </a:lnTo>
                <a:lnTo>
                  <a:pt x="6353" y="855"/>
                </a:lnTo>
                <a:lnTo>
                  <a:pt x="6357" y="865"/>
                </a:lnTo>
                <a:lnTo>
                  <a:pt x="6360" y="876"/>
                </a:lnTo>
                <a:lnTo>
                  <a:pt x="6362" y="887"/>
                </a:lnTo>
                <a:lnTo>
                  <a:pt x="6364" y="900"/>
                </a:lnTo>
                <a:lnTo>
                  <a:pt x="6366" y="915"/>
                </a:lnTo>
                <a:lnTo>
                  <a:pt x="6367" y="931"/>
                </a:lnTo>
                <a:lnTo>
                  <a:pt x="6369" y="969"/>
                </a:lnTo>
                <a:lnTo>
                  <a:pt x="6370" y="990"/>
                </a:lnTo>
                <a:lnTo>
                  <a:pt x="6370" y="1011"/>
                </a:lnTo>
                <a:lnTo>
                  <a:pt x="6370" y="1478"/>
                </a:lnTo>
                <a:lnTo>
                  <a:pt x="6630" y="1478"/>
                </a:lnTo>
                <a:close/>
                <a:moveTo>
                  <a:pt x="2027" y="314"/>
                </a:moveTo>
                <a:lnTo>
                  <a:pt x="2012" y="315"/>
                </a:lnTo>
                <a:lnTo>
                  <a:pt x="2005" y="316"/>
                </a:lnTo>
                <a:lnTo>
                  <a:pt x="1998" y="317"/>
                </a:lnTo>
                <a:lnTo>
                  <a:pt x="1991" y="318"/>
                </a:lnTo>
                <a:lnTo>
                  <a:pt x="1985" y="320"/>
                </a:lnTo>
                <a:lnTo>
                  <a:pt x="1979" y="322"/>
                </a:lnTo>
                <a:lnTo>
                  <a:pt x="1972" y="324"/>
                </a:lnTo>
                <a:lnTo>
                  <a:pt x="1961" y="330"/>
                </a:lnTo>
                <a:lnTo>
                  <a:pt x="1955" y="333"/>
                </a:lnTo>
                <a:lnTo>
                  <a:pt x="1950" y="337"/>
                </a:lnTo>
                <a:lnTo>
                  <a:pt x="1940" y="344"/>
                </a:lnTo>
                <a:lnTo>
                  <a:pt x="1935" y="349"/>
                </a:lnTo>
                <a:lnTo>
                  <a:pt x="1931" y="353"/>
                </a:lnTo>
                <a:lnTo>
                  <a:pt x="1923" y="363"/>
                </a:lnTo>
                <a:lnTo>
                  <a:pt x="1919" y="369"/>
                </a:lnTo>
                <a:lnTo>
                  <a:pt x="1916" y="374"/>
                </a:lnTo>
                <a:lnTo>
                  <a:pt x="1913" y="380"/>
                </a:lnTo>
                <a:lnTo>
                  <a:pt x="1910" y="386"/>
                </a:lnTo>
                <a:lnTo>
                  <a:pt x="1905" y="399"/>
                </a:lnTo>
                <a:lnTo>
                  <a:pt x="1901" y="413"/>
                </a:lnTo>
                <a:lnTo>
                  <a:pt x="1899" y="420"/>
                </a:lnTo>
                <a:lnTo>
                  <a:pt x="1898" y="427"/>
                </a:lnTo>
                <a:lnTo>
                  <a:pt x="1896" y="443"/>
                </a:lnTo>
                <a:lnTo>
                  <a:pt x="1896" y="451"/>
                </a:lnTo>
                <a:lnTo>
                  <a:pt x="1896" y="459"/>
                </a:lnTo>
                <a:lnTo>
                  <a:pt x="1896" y="571"/>
                </a:lnTo>
                <a:lnTo>
                  <a:pt x="2079" y="571"/>
                </a:lnTo>
                <a:lnTo>
                  <a:pt x="2079" y="777"/>
                </a:lnTo>
                <a:lnTo>
                  <a:pt x="1896" y="777"/>
                </a:lnTo>
                <a:lnTo>
                  <a:pt x="1896" y="1479"/>
                </a:lnTo>
                <a:lnTo>
                  <a:pt x="1645" y="1479"/>
                </a:lnTo>
                <a:lnTo>
                  <a:pt x="1645" y="779"/>
                </a:lnTo>
                <a:lnTo>
                  <a:pt x="1529" y="779"/>
                </a:lnTo>
                <a:lnTo>
                  <a:pt x="1529" y="576"/>
                </a:lnTo>
                <a:lnTo>
                  <a:pt x="1645" y="576"/>
                </a:lnTo>
                <a:lnTo>
                  <a:pt x="1645" y="482"/>
                </a:lnTo>
                <a:lnTo>
                  <a:pt x="1645" y="447"/>
                </a:lnTo>
                <a:lnTo>
                  <a:pt x="1646" y="430"/>
                </a:lnTo>
                <a:lnTo>
                  <a:pt x="1647" y="412"/>
                </a:lnTo>
                <a:lnTo>
                  <a:pt x="1649" y="395"/>
                </a:lnTo>
                <a:lnTo>
                  <a:pt x="1650" y="377"/>
                </a:lnTo>
                <a:lnTo>
                  <a:pt x="1653" y="360"/>
                </a:lnTo>
                <a:lnTo>
                  <a:pt x="1655" y="343"/>
                </a:lnTo>
                <a:lnTo>
                  <a:pt x="1659" y="326"/>
                </a:lnTo>
                <a:lnTo>
                  <a:pt x="1663" y="310"/>
                </a:lnTo>
                <a:lnTo>
                  <a:pt x="1667" y="294"/>
                </a:lnTo>
                <a:lnTo>
                  <a:pt x="1672" y="278"/>
                </a:lnTo>
                <a:lnTo>
                  <a:pt x="1678" y="262"/>
                </a:lnTo>
                <a:lnTo>
                  <a:pt x="1685" y="247"/>
                </a:lnTo>
                <a:lnTo>
                  <a:pt x="1692" y="233"/>
                </a:lnTo>
                <a:lnTo>
                  <a:pt x="1696" y="225"/>
                </a:lnTo>
                <a:lnTo>
                  <a:pt x="1700" y="218"/>
                </a:lnTo>
                <a:lnTo>
                  <a:pt x="1705" y="212"/>
                </a:lnTo>
                <a:lnTo>
                  <a:pt x="1709" y="205"/>
                </a:lnTo>
                <a:lnTo>
                  <a:pt x="1719" y="192"/>
                </a:lnTo>
                <a:lnTo>
                  <a:pt x="1730" y="180"/>
                </a:lnTo>
                <a:lnTo>
                  <a:pt x="1742" y="168"/>
                </a:lnTo>
                <a:lnTo>
                  <a:pt x="1755" y="157"/>
                </a:lnTo>
                <a:lnTo>
                  <a:pt x="1761" y="152"/>
                </a:lnTo>
                <a:lnTo>
                  <a:pt x="1769" y="147"/>
                </a:lnTo>
                <a:lnTo>
                  <a:pt x="1784" y="137"/>
                </a:lnTo>
                <a:lnTo>
                  <a:pt x="1791" y="133"/>
                </a:lnTo>
                <a:lnTo>
                  <a:pt x="1800" y="129"/>
                </a:lnTo>
                <a:lnTo>
                  <a:pt x="1817" y="121"/>
                </a:lnTo>
                <a:lnTo>
                  <a:pt x="1826" y="117"/>
                </a:lnTo>
                <a:lnTo>
                  <a:pt x="1835" y="114"/>
                </a:lnTo>
                <a:lnTo>
                  <a:pt x="1855" y="108"/>
                </a:lnTo>
                <a:lnTo>
                  <a:pt x="1876" y="103"/>
                </a:lnTo>
                <a:lnTo>
                  <a:pt x="1899" y="99"/>
                </a:lnTo>
                <a:lnTo>
                  <a:pt x="1910" y="98"/>
                </a:lnTo>
                <a:lnTo>
                  <a:pt x="1923" y="96"/>
                </a:lnTo>
                <a:lnTo>
                  <a:pt x="1948" y="95"/>
                </a:lnTo>
                <a:lnTo>
                  <a:pt x="1961" y="94"/>
                </a:lnTo>
                <a:lnTo>
                  <a:pt x="1974" y="94"/>
                </a:lnTo>
                <a:lnTo>
                  <a:pt x="1999" y="94"/>
                </a:lnTo>
                <a:lnTo>
                  <a:pt x="2021" y="95"/>
                </a:lnTo>
                <a:lnTo>
                  <a:pt x="2041" y="97"/>
                </a:lnTo>
                <a:lnTo>
                  <a:pt x="2061" y="99"/>
                </a:lnTo>
                <a:lnTo>
                  <a:pt x="2080" y="102"/>
                </a:lnTo>
                <a:lnTo>
                  <a:pt x="2100" y="106"/>
                </a:lnTo>
                <a:lnTo>
                  <a:pt x="2122" y="110"/>
                </a:lnTo>
                <a:lnTo>
                  <a:pt x="2146" y="115"/>
                </a:lnTo>
                <a:lnTo>
                  <a:pt x="2146" y="330"/>
                </a:lnTo>
                <a:lnTo>
                  <a:pt x="2122" y="325"/>
                </a:lnTo>
                <a:lnTo>
                  <a:pt x="2110" y="322"/>
                </a:lnTo>
                <a:lnTo>
                  <a:pt x="2097" y="319"/>
                </a:lnTo>
                <a:lnTo>
                  <a:pt x="2082" y="317"/>
                </a:lnTo>
                <a:lnTo>
                  <a:pt x="2066" y="316"/>
                </a:lnTo>
                <a:lnTo>
                  <a:pt x="2048" y="315"/>
                </a:lnTo>
                <a:lnTo>
                  <a:pt x="2027" y="3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77712" tIns="38856" rIns="77712" bIns="38856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 b="0">
              <a:latin typeface="Arial"/>
            </a:endParaRPr>
          </a:p>
        </p:txBody>
      </p:sp>
      <p:sp>
        <p:nvSpPr>
          <p:cNvPr id="8" name="(c)" hidden="1"/>
          <p:cNvSpPr txBox="1"/>
          <p:nvPr userDrawn="1"/>
        </p:nvSpPr>
        <p:spPr>
          <a:xfrm>
            <a:off x="10179581" y="7255256"/>
            <a:ext cx="176330" cy="261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fi-FI" sz="170" b="0" dirty="0">
                <a:solidFill>
                  <a:prstClr val="white"/>
                </a:solidFill>
                <a:latin typeface="Arial"/>
              </a:rPr>
              <a:t>©grow. for fortum</a:t>
            </a:r>
            <a:endParaRPr lang="en-GB" sz="170" b="0" dirty="0" err="1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7375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</p:sldLayoutIdLst>
  <p:hf hdr="0" ftr="0" dt="0"/>
  <p:txStyles>
    <p:titleStyle>
      <a:lvl1pPr algn="l" defTabSz="777149" rtl="0" eaLnBrk="1" latinLnBrk="0" hangingPunct="1">
        <a:lnSpc>
          <a:spcPct val="85000"/>
        </a:lnSpc>
        <a:spcBef>
          <a:spcPct val="0"/>
        </a:spcBef>
        <a:buNone/>
        <a:defRPr sz="238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6668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700" kern="1200">
          <a:solidFill>
            <a:srgbClr val="000000"/>
          </a:solidFill>
          <a:latin typeface="+mn-lt"/>
          <a:ea typeface="+mn-ea"/>
          <a:cs typeface="+mn-cs"/>
        </a:defRPr>
      </a:lvl1pPr>
      <a:lvl2pPr marL="458734" indent="-23206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530" kern="1200">
          <a:solidFill>
            <a:srgbClr val="000000"/>
          </a:solidFill>
          <a:latin typeface="+mn-lt"/>
          <a:ea typeface="+mn-ea"/>
          <a:cs typeface="+mn-cs"/>
        </a:defRPr>
      </a:lvl2pPr>
      <a:lvl3pPr marL="685402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360" kern="1200">
          <a:solidFill>
            <a:srgbClr val="000000"/>
          </a:solidFill>
          <a:latin typeface="+mn-lt"/>
          <a:ea typeface="+mn-ea"/>
          <a:cs typeface="+mn-cs"/>
        </a:defRPr>
      </a:lvl3pPr>
      <a:lvl4pPr marL="910721" indent="-225320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190" kern="1200">
          <a:solidFill>
            <a:srgbClr val="000000"/>
          </a:solidFill>
          <a:latin typeface="+mn-lt"/>
          <a:ea typeface="+mn-ea"/>
          <a:cs typeface="+mn-cs"/>
        </a:defRPr>
      </a:lvl4pPr>
      <a:lvl5pPr marL="1144135" indent="-23341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190" kern="1200">
          <a:solidFill>
            <a:srgbClr val="000000"/>
          </a:solidFill>
          <a:latin typeface="+mn-lt"/>
          <a:ea typeface="+mn-ea"/>
          <a:cs typeface="+mn-cs"/>
        </a:defRPr>
      </a:lvl5pPr>
      <a:lvl6pPr marL="1370804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020" kern="1200">
          <a:solidFill>
            <a:srgbClr val="000000"/>
          </a:solidFill>
          <a:latin typeface="+mn-lt"/>
          <a:ea typeface="+mn-ea"/>
          <a:cs typeface="+mn-cs"/>
        </a:defRPr>
      </a:lvl6pPr>
      <a:lvl7pPr marL="1596123" indent="-225320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020" kern="1200">
          <a:solidFill>
            <a:srgbClr val="000000"/>
          </a:solidFill>
          <a:latin typeface="+mn-lt"/>
          <a:ea typeface="+mn-ea"/>
          <a:cs typeface="+mn-cs"/>
        </a:defRPr>
      </a:lvl7pPr>
      <a:lvl8pPr marL="1829537" indent="-233415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–"/>
        <a:defRPr sz="1020" kern="1200">
          <a:solidFill>
            <a:srgbClr val="000000"/>
          </a:solidFill>
          <a:latin typeface="+mn-lt"/>
          <a:ea typeface="+mn-ea"/>
          <a:cs typeface="+mn-cs"/>
        </a:defRPr>
      </a:lvl8pPr>
      <a:lvl9pPr marL="2056206" indent="-226668" algn="l" defTabSz="777149" rtl="0" eaLnBrk="1" latinLnBrk="0" hangingPunct="1">
        <a:lnSpc>
          <a:spcPct val="100000"/>
        </a:lnSpc>
        <a:spcBef>
          <a:spcPts val="680"/>
        </a:spcBef>
        <a:buClr>
          <a:schemeClr val="accent2"/>
        </a:buClr>
        <a:buFont typeface="Arial" panose="020B0604020202020204" pitchFamily="34" charset="0"/>
        <a:buChar char="•"/>
        <a:defRPr sz="102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574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149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723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297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2871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446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020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594" algn="l" defTabSz="777149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6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7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8.xml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9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0.xml"/><Relationship Id="rId5" Type="http://schemas.openxmlformats.org/officeDocument/2006/relationships/image" Target="../media/image19.jpe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15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1.xml"/><Relationship Id="rId6" Type="http://schemas.openxmlformats.org/officeDocument/2006/relationships/diagramData" Target="../diagrams/data1.xml"/><Relationship Id="rId5" Type="http://schemas.openxmlformats.org/officeDocument/2006/relationships/image" Target="../media/image20.jpeg"/><Relationship Id="rId10" Type="http://schemas.microsoft.com/office/2007/relationships/diagramDrawing" Target="../diagrams/drawing1.xml"/><Relationship Id="rId4" Type="http://schemas.openxmlformats.org/officeDocument/2006/relationships/image" Target="../media/image7.png"/><Relationship Id="rId9" Type="http://schemas.openxmlformats.org/officeDocument/2006/relationships/diagramColors" Target="../diagrams/colors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notesSlide" Target="../notesSlides/notesSlide16.xml"/><Relationship Id="rId7" Type="http://schemas.openxmlformats.org/officeDocument/2006/relationships/diagramData" Target="../diagrams/data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2.xml"/><Relationship Id="rId6" Type="http://schemas.openxmlformats.org/officeDocument/2006/relationships/image" Target="../media/image22.jpeg"/><Relationship Id="rId11" Type="http://schemas.microsoft.com/office/2007/relationships/diagramDrawing" Target="../diagrams/drawing2.xml"/><Relationship Id="rId5" Type="http://schemas.openxmlformats.org/officeDocument/2006/relationships/image" Target="../media/image21.png"/><Relationship Id="rId10" Type="http://schemas.openxmlformats.org/officeDocument/2006/relationships/diagramColors" Target="../diagrams/colors2.xml"/><Relationship Id="rId4" Type="http://schemas.openxmlformats.org/officeDocument/2006/relationships/image" Target="../media/image7.png"/><Relationship Id="rId9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17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3.xml"/><Relationship Id="rId6" Type="http://schemas.openxmlformats.org/officeDocument/2006/relationships/diagramData" Target="../diagrams/data3.xml"/><Relationship Id="rId5" Type="http://schemas.openxmlformats.org/officeDocument/2006/relationships/image" Target="../media/image23.png"/><Relationship Id="rId10" Type="http://schemas.microsoft.com/office/2007/relationships/diagramDrawing" Target="../diagrams/drawing3.xml"/><Relationship Id="rId4" Type="http://schemas.openxmlformats.org/officeDocument/2006/relationships/image" Target="../media/image7.png"/><Relationship Id="rId9" Type="http://schemas.openxmlformats.org/officeDocument/2006/relationships/diagramColors" Target="../diagrams/colors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6.xml"/><Relationship Id="rId5" Type="http://schemas.openxmlformats.org/officeDocument/2006/relationships/image" Target="../media/image28.jpeg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notesSlide" Target="../notesSlides/notesSlide21.xml"/><Relationship Id="rId7" Type="http://schemas.openxmlformats.org/officeDocument/2006/relationships/hyperlink" Target="http://www.wb-drinaproject.com/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7.x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4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8.xml"/><Relationship Id="rId5" Type="http://schemas.openxmlformats.org/officeDocument/2006/relationships/image" Target="../media/image32.jpg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13" Type="http://schemas.openxmlformats.org/officeDocument/2006/relationships/diagramQuickStyle" Target="../diagrams/quickStyle5.xml"/><Relationship Id="rId3" Type="http://schemas.openxmlformats.org/officeDocument/2006/relationships/notesSlide" Target="../notesSlides/notesSlide23.xml"/><Relationship Id="rId7" Type="http://schemas.openxmlformats.org/officeDocument/2006/relationships/diagramLayout" Target="../diagrams/layout4.xml"/><Relationship Id="rId12" Type="http://schemas.openxmlformats.org/officeDocument/2006/relationships/diagramLayout" Target="../diagrams/layout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9.xml"/><Relationship Id="rId6" Type="http://schemas.openxmlformats.org/officeDocument/2006/relationships/diagramData" Target="../diagrams/data4.xml"/><Relationship Id="rId11" Type="http://schemas.openxmlformats.org/officeDocument/2006/relationships/diagramData" Target="../diagrams/data5.xml"/><Relationship Id="rId5" Type="http://schemas.openxmlformats.org/officeDocument/2006/relationships/image" Target="../media/image33.png"/><Relationship Id="rId15" Type="http://schemas.microsoft.com/office/2007/relationships/diagramDrawing" Target="../diagrams/drawing5.xml"/><Relationship Id="rId10" Type="http://schemas.microsoft.com/office/2007/relationships/diagramDrawing" Target="../diagrams/drawing4.xml"/><Relationship Id="rId4" Type="http://schemas.openxmlformats.org/officeDocument/2006/relationships/image" Target="../media/image7.png"/><Relationship Id="rId9" Type="http://schemas.openxmlformats.org/officeDocument/2006/relationships/diagramColors" Target="../diagrams/colors4.xml"/><Relationship Id="rId14" Type="http://schemas.openxmlformats.org/officeDocument/2006/relationships/diagramColors" Target="../diagrams/colors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6.xml"/><Relationship Id="rId3" Type="http://schemas.openxmlformats.org/officeDocument/2006/relationships/notesSlide" Target="../notesSlides/notesSlide24.xml"/><Relationship Id="rId7" Type="http://schemas.openxmlformats.org/officeDocument/2006/relationships/diagramQuickStyle" Target="../diagrams/quickStyl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0.xml"/><Relationship Id="rId6" Type="http://schemas.openxmlformats.org/officeDocument/2006/relationships/diagramLayout" Target="../diagrams/layout6.xml"/><Relationship Id="rId11" Type="http://schemas.openxmlformats.org/officeDocument/2006/relationships/image" Target="../media/image35.PNG"/><Relationship Id="rId5" Type="http://schemas.openxmlformats.org/officeDocument/2006/relationships/diagramData" Target="../diagrams/data6.xml"/><Relationship Id="rId10" Type="http://schemas.openxmlformats.org/officeDocument/2006/relationships/image" Target="../media/image34.PNG"/><Relationship Id="rId4" Type="http://schemas.openxmlformats.org/officeDocument/2006/relationships/image" Target="../media/image7.png"/><Relationship Id="rId9" Type="http://schemas.microsoft.com/office/2007/relationships/diagramDrawing" Target="../diagrams/drawing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1.xml"/><Relationship Id="rId5" Type="http://schemas.openxmlformats.org/officeDocument/2006/relationships/image" Target="../media/image36.crdownload"/><Relationship Id="rId4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2.xml"/><Relationship Id="rId6" Type="http://schemas.openxmlformats.org/officeDocument/2006/relationships/image" Target="../media/image38.png"/><Relationship Id="rId5" Type="http://schemas.openxmlformats.org/officeDocument/2006/relationships/image" Target="../media/image37.jpg"/><Relationship Id="rId4" Type="http://schemas.openxmlformats.org/officeDocument/2006/relationships/image" Target="../media/image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3.xml"/><Relationship Id="rId5" Type="http://schemas.openxmlformats.org/officeDocument/2006/relationships/image" Target="../media/image39.png"/><Relationship Id="rId4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4.xml"/><Relationship Id="rId4" Type="http://schemas.openxmlformats.org/officeDocument/2006/relationships/image" Target="../media/image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5.xml"/><Relationship Id="rId5" Type="http://schemas.openxmlformats.org/officeDocument/2006/relationships/image" Target="../media/image40.jpe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7" Type="http://schemas.openxmlformats.org/officeDocument/2006/relationships/image" Target="../media/image9.png"/><Relationship Id="rId2" Type="http://schemas.microsoft.com/office/2007/relationships/media" Target="../media/media1.mp4"/><Relationship Id="rId1" Type="http://schemas.openxmlformats.org/officeDocument/2006/relationships/tags" Target="../tags/tag39.xml"/><Relationship Id="rId6" Type="http://schemas.openxmlformats.org/officeDocument/2006/relationships/image" Target="../media/image7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6.xml"/><Relationship Id="rId6" Type="http://schemas.openxmlformats.org/officeDocument/2006/relationships/image" Target="../media/image42.jpg"/><Relationship Id="rId5" Type="http://schemas.openxmlformats.org/officeDocument/2006/relationships/image" Target="../media/image41.PNG"/><Relationship Id="rId4" Type="http://schemas.openxmlformats.org/officeDocument/2006/relationships/image" Target="../media/image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7.xml"/><Relationship Id="rId5" Type="http://schemas.openxmlformats.org/officeDocument/2006/relationships/image" Target="../media/image43.jpg"/><Relationship Id="rId4" Type="http://schemas.openxmlformats.org/officeDocument/2006/relationships/image" Target="../media/image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8.xml"/><Relationship Id="rId5" Type="http://schemas.openxmlformats.org/officeDocument/2006/relationships/image" Target="../media/image44.png"/><Relationship Id="rId4" Type="http://schemas.openxmlformats.org/officeDocument/2006/relationships/image" Target="../media/image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hyperlink" Target="mailto:ivan.mrvaljevic@epcg.com" TargetMode="External"/><Relationship Id="rId4" Type="http://schemas.openxmlformats.org/officeDocument/2006/relationships/notesSlide" Target="../notesSlides/notesSlide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0.xml"/><Relationship Id="rId5" Type="http://schemas.openxmlformats.org/officeDocument/2006/relationships/image" Target="../media/image10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3.xml"/><Relationship Id="rId5" Type="http://schemas.openxmlformats.org/officeDocument/2006/relationships/image" Target="../media/image13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4.xml"/><Relationship Id="rId5" Type="http://schemas.openxmlformats.org/officeDocument/2006/relationships/image" Target="../media/image14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5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Presentation Title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8317" y="3067386"/>
            <a:ext cx="9723480" cy="1784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587" tIns="44293" rIns="88587" bIns="44293" anchor="t"/>
          <a:lstStyle/>
          <a:p>
            <a:pPr algn="ctr" defTabSz="879356" eaLnBrk="0" hangingPunct="0">
              <a:spcBef>
                <a:spcPct val="20000"/>
              </a:spcBef>
            </a:pPr>
            <a:endParaRPr lang="en-GB" sz="1000" spc="50" dirty="0">
              <a:ln w="0"/>
              <a:solidFill>
                <a:schemeClr val="tx1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  <a:p>
            <a:pPr algn="ctr" defTabSz="879356" eaLnBrk="0" hangingPunct="0">
              <a:spcBef>
                <a:spcPct val="20000"/>
              </a:spcBef>
            </a:pPr>
            <a:r>
              <a:rPr lang="en-US" sz="2400" dirty="0">
                <a:solidFill>
                  <a:schemeClr val="tx1"/>
                </a:solidFill>
              </a:rPr>
              <a:t>OBNOVLJIVI IZVORI ENERGIJE KAO PRIORITET RAZVOJA EPCG</a:t>
            </a:r>
            <a:endParaRPr lang="en-GB" sz="2800" spc="50" dirty="0">
              <a:ln w="0"/>
              <a:solidFill>
                <a:schemeClr val="tx1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gray">
          <a:xfrm>
            <a:off x="4682275" y="5473700"/>
            <a:ext cx="6758838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400" b="0" i="1" kern="0" dirty="0"/>
              <a:t>Ivan </a:t>
            </a:r>
            <a:r>
              <a:rPr lang="en-US" sz="2400" b="0" i="1" kern="0" dirty="0" err="1"/>
              <a:t>Mrvaljevi</a:t>
            </a:r>
            <a:r>
              <a:rPr lang="sr-Latn-ME" sz="2400" b="0" i="1" kern="0" dirty="0"/>
              <a:t>ć</a:t>
            </a:r>
          </a:p>
          <a:p>
            <a:pPr eaLnBrk="1" hangingPunct="1"/>
            <a:r>
              <a:rPr lang="sr-Latn-ME" sz="2400" b="0" i="1" kern="0" dirty="0"/>
              <a:t>Izvršni rukovodilac DRI</a:t>
            </a:r>
            <a:br>
              <a:rPr lang="sr-Latn-ME" sz="2400" b="0" i="1" kern="0" dirty="0"/>
            </a:br>
            <a:endParaRPr lang="en-US" sz="2400" b="0" i="1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06163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0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1392663" y="49339"/>
            <a:ext cx="6347907" cy="40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Novi projekti 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OIE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 EPCG</a:t>
            </a:r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half" idx="4294967295"/>
          </p:nvPr>
        </p:nvSpPr>
        <p:spPr>
          <a:xfrm>
            <a:off x="1394018" y="5996812"/>
            <a:ext cx="6347906" cy="779534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extrusionH="76200" contourW="44450" prstMaterial="matte">
            <a:bevelT w="63500" h="63500" prst="artDeco"/>
            <a:extrusionClr>
              <a:schemeClr val="accent5"/>
            </a:extrusionClr>
            <a:contourClr>
              <a:schemeClr val="accent5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>
              <a:buFont typeface="Wingdings" panose="05000000000000000000" pitchFamily="2" charset="2"/>
              <a:buChar char="Ø"/>
            </a:pPr>
            <a:r>
              <a:rPr lang="sr-Latn-ME" sz="2000" dirty="0"/>
              <a:t> </a:t>
            </a:r>
            <a:r>
              <a:rPr lang="sr-Latn-ME" sz="1200" b="1" dirty="0"/>
              <a:t>Rekonstrukcija i modernizacija postojećih HE</a:t>
            </a:r>
          </a:p>
          <a:p>
            <a:pPr marL="815975" lvl="1" indent="-342900">
              <a:buFont typeface="Arial" panose="020B0604020202020204" pitchFamily="34" charset="0"/>
              <a:buChar char="•"/>
            </a:pPr>
            <a:r>
              <a:rPr lang="en-US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</a:t>
            </a:r>
            <a:r>
              <a:rPr lang="sr-Latn-ME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  <a:r>
              <a:rPr lang="en-US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eru</a:t>
            </a:r>
            <a:r>
              <a:rPr lang="sr-Latn-ME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ćica</a:t>
            </a:r>
            <a:r>
              <a:rPr lang="en-US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307 MW </a:t>
            </a:r>
            <a:r>
              <a:rPr lang="sr-Latn-ME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en-US" sz="1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815975" lvl="1" indent="-342900">
              <a:buFont typeface="Arial" panose="020B0604020202020204" pitchFamily="34" charset="0"/>
              <a:buChar char="•"/>
            </a:pPr>
            <a:r>
              <a:rPr lang="en-US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</a:t>
            </a:r>
            <a:r>
              <a:rPr lang="sr-Latn-ME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  <a:r>
              <a:rPr lang="en-US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sr-Latn-ME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va</a:t>
            </a:r>
            <a:r>
              <a:rPr lang="en-US" sz="1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342 MW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267147"/>
              </p:ext>
            </p:extLst>
          </p:nvPr>
        </p:nvGraphicFramePr>
        <p:xfrm>
          <a:off x="1392664" y="452353"/>
          <a:ext cx="6347907" cy="5593009"/>
        </p:xfrm>
        <a:graphic>
          <a:graphicData uri="http://schemas.openxmlformats.org/drawingml/2006/table">
            <a:tbl>
              <a:tblPr firstRow="1" bandRow="1"/>
              <a:tblGrid>
                <a:gridCol w="17410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37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01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330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284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lektrana</a:t>
                      </a:r>
                      <a:endParaRPr lang="en-US" sz="9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stalisana snaga</a:t>
                      </a:r>
                      <a:r>
                        <a:rPr lang="en-GB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MW)</a:t>
                      </a:r>
                      <a:endParaRPr lang="en-US" sz="9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izvodnja</a:t>
                      </a:r>
                      <a:r>
                        <a:rPr lang="en-GB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lang="sr-Latn-ME" sz="1300" b="1" noProof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Wh</a:t>
                      </a:r>
                      <a:r>
                        <a:rPr lang="en-GB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sr-Latn-ME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</a:t>
                      </a:r>
                      <a:r>
                        <a:rPr lang="en-GB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US" sz="9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odina puštanja u pogon</a:t>
                      </a:r>
                      <a:endParaRPr lang="en-US" sz="11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618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E </a:t>
                      </a:r>
                      <a:r>
                        <a:rPr lang="en-US" sz="1300" b="1" dirty="0" err="1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vozd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,6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0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600" b="1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en-US" sz="1100" b="1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029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</a:t>
                      </a:r>
                      <a:r>
                        <a:rPr lang="en-US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300" b="1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iska</a:t>
                      </a:r>
                      <a:r>
                        <a:rPr lang="en-US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Gora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00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</a:t>
                      </a: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360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6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</a:t>
                      </a:r>
                      <a:r>
                        <a:rPr lang="sr-Latn-ME" sz="16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/2026*</a:t>
                      </a:r>
                      <a:endParaRPr lang="en-US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9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</a:t>
                      </a:r>
                      <a:r>
                        <a:rPr lang="en-US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300" b="1" dirty="0" err="1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omarnica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1,9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3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8</a:t>
                      </a:r>
                      <a:endParaRPr lang="en-US" sz="1100" b="1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210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</a:t>
                      </a:r>
                      <a:r>
                        <a:rPr lang="en-US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eru</a:t>
                      </a: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ćica – Agregat A8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8,5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45720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50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US" sz="11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19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HE Otilovići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3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,4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en-US" sz="1100" b="1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19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 Kruševo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5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59297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30</a:t>
                      </a:r>
                      <a:endParaRPr lang="en-US" sz="16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19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 Velje Brdo 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100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**+160**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59297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kern="1200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4*/2027*</a:t>
                      </a:r>
                      <a:endParaRPr lang="en-US" sz="1600" b="1" kern="12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19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 Vilusi I</a:t>
                      </a: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**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59297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4*</a:t>
                      </a:r>
                      <a:endParaRPr lang="en-US" sz="16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1984">
                <a:tc>
                  <a:txBody>
                    <a:bodyPr/>
                    <a:lstStyle/>
                    <a:p>
                      <a:pPr marL="0" marR="0" lvl="0" indent="0" algn="ctr" defTabSz="95929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ME" sz="12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 Dragalj/Vilusi II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0**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59297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kern="1200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7*</a:t>
                      </a:r>
                      <a:endParaRPr lang="en-US" sz="1600" b="1" kern="12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19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 Čevo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</a:t>
                      </a:r>
                      <a:endParaRPr lang="en-US" sz="900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59297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BD</a:t>
                      </a:r>
                      <a:endParaRPr lang="en-US" sz="16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59297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BD</a:t>
                      </a:r>
                      <a:endParaRPr lang="en-US" sz="16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19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 Slano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</a:t>
                      </a: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6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rgbClr val="FFFF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**</a:t>
                      </a:r>
                      <a:endParaRPr lang="en-US" sz="900" b="1" dirty="0">
                        <a:solidFill>
                          <a:srgbClr val="FFFF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59297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600" b="1" kern="1200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600" b="1" kern="1200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sr-Latn-ME" sz="1600" b="1" kern="1200" dirty="0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*</a:t>
                      </a:r>
                      <a:endParaRPr lang="en-US" sz="1600" b="1" kern="12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8198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KUPNO</a:t>
                      </a:r>
                      <a:endParaRPr lang="en-US" sz="9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21</a:t>
                      </a:r>
                      <a:r>
                        <a:rPr lang="en-GB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9</a:t>
                      </a:r>
                      <a:endParaRPr lang="en-US" sz="900" b="1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sr-Latn-ME" sz="1300" b="1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99,4</a:t>
                      </a:r>
                      <a:endParaRPr lang="en-US" sz="900" b="1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4302" marR="74302" marT="37151" marB="37151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300" b="1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1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7853544" y="5505524"/>
            <a:ext cx="2508069" cy="639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9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sr-Latn-ME" sz="900" i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 zavisnosti od dinamike priključenja na električnu mrežu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sr-Latn-ME" sz="900" i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**Preliminarna procjen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753360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1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A6AF8F3-C448-FD4A-BC30-FD8023BCB60C}"/>
              </a:ext>
            </a:extLst>
          </p:cNvPr>
          <p:cNvSpPr txBox="1">
            <a:spLocks/>
          </p:cNvSpPr>
          <p:nvPr/>
        </p:nvSpPr>
        <p:spPr>
          <a:xfrm>
            <a:off x="312098" y="145747"/>
            <a:ext cx="9710525" cy="86888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normAutofit fontScale="32500" lnSpcReduction="20000"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US" sz="6400" kern="0" dirty="0">
              <a:solidFill>
                <a:srgbClr val="FFFF00"/>
              </a:solidFill>
            </a:endParaRPr>
          </a:p>
          <a:p>
            <a:r>
              <a:rPr lang="en-US" sz="6400" kern="0" dirty="0">
                <a:solidFill>
                  <a:srgbClr val="FFFF00"/>
                </a:solidFill>
              </a:rPr>
              <a:t>International Hydropower Association - IHA</a:t>
            </a:r>
            <a:br>
              <a:rPr lang="hr-HR" sz="3200" kern="0" dirty="0"/>
            </a:br>
            <a:endParaRPr lang="hr-HR" sz="3200" kern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099" y="1078992"/>
            <a:ext cx="9710525" cy="403250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A6AF8F3-C448-FD4A-BC30-FD8023BCB60C}"/>
              </a:ext>
            </a:extLst>
          </p:cNvPr>
          <p:cNvSpPr txBox="1">
            <a:spLocks/>
          </p:cNvSpPr>
          <p:nvPr/>
        </p:nvSpPr>
        <p:spPr>
          <a:xfrm>
            <a:off x="312099" y="5177563"/>
            <a:ext cx="9710525" cy="1307592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>
            <a:noAutofit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sr-Latn-RS" sz="1800" b="0" dirty="0"/>
              <a:t>Elektroprivreda Crne Gore AD Nikšić je 3.12.2020. postala Silver member članica Međunarodne asocijacije za hidroenergetiku (International Hydropower Association), kao nacionalna energetska kompanija u kategoriji do 2,000 MW instalisanog hidroenergetskog kapaciteta u svom portfoliju</a:t>
            </a:r>
            <a:endParaRPr lang="hr-HR" sz="1800" b="0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383374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2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6834" y="1045029"/>
            <a:ext cx="4889995" cy="4711260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20E813CB-6509-4F43-B513-67DA8104FFAF}"/>
              </a:ext>
            </a:extLst>
          </p:cNvPr>
          <p:cNvSpPr txBox="1">
            <a:spLocks/>
          </p:cNvSpPr>
          <p:nvPr/>
        </p:nvSpPr>
        <p:spPr>
          <a:xfrm>
            <a:off x="99473" y="1141906"/>
            <a:ext cx="4437693" cy="451750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Left"/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txBody>
          <a:bodyPr anchor="ctr" anchorCtr="0">
            <a:noAutofit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r-Latn-ME" sz="2000" b="0" kern="0" dirty="0">
                <a:solidFill>
                  <a:schemeClr val="tx2"/>
                </a:solidFill>
              </a:rPr>
              <a:t>Promocija principa održivog razvoja u oblasti hidroenergetike i njene uloge i značaja u sistemima obnovljivih izvora energije</a:t>
            </a:r>
          </a:p>
          <a:p>
            <a:pPr algn="l"/>
            <a:endParaRPr lang="en-US" sz="2000" b="0" kern="0" dirty="0">
              <a:solidFill>
                <a:schemeClr val="tx2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r-Latn-ME" sz="2000" b="0" kern="0" dirty="0">
                <a:solidFill>
                  <a:schemeClr val="tx2"/>
                </a:solidFill>
              </a:rPr>
              <a:t>Borba protiv klimatskih promjena i dostizanje ciljeva Pariškog sporazum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8111184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3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981" y="334962"/>
            <a:ext cx="6183563" cy="3924633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2" name="Rectangle 1"/>
          <p:cNvSpPr/>
          <p:nvPr/>
        </p:nvSpPr>
        <p:spPr>
          <a:xfrm>
            <a:off x="6906768" y="334962"/>
            <a:ext cx="3087623" cy="1754326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0" dirty="0" err="1">
                <a:solidFill>
                  <a:srgbClr val="050505"/>
                </a:solidFill>
                <a:latin typeface="Open Sans"/>
              </a:rPr>
              <a:t>Zaključak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novog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izv</a:t>
            </a:r>
            <a:r>
              <a:rPr lang="sr-Latn-ME" b="0" dirty="0">
                <a:solidFill>
                  <a:srgbClr val="050505"/>
                </a:solidFill>
                <a:latin typeface="Open Sans"/>
              </a:rPr>
              <a:t>j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eštaja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istraživača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iz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IHA,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objavljenog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na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Sv</a:t>
            </a:r>
            <a:r>
              <a:rPr lang="sr-Latn-ME" b="0" dirty="0">
                <a:solidFill>
                  <a:srgbClr val="050505"/>
                </a:solidFill>
                <a:latin typeface="Open Sans"/>
              </a:rPr>
              <a:t>j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etskom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kongresu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hidroenergije</a:t>
            </a:r>
            <a:r>
              <a:rPr lang="sr-Latn-ME" b="0" dirty="0">
                <a:solidFill>
                  <a:srgbClr val="050505"/>
                </a:solidFill>
                <a:latin typeface="Open Sans"/>
              </a:rPr>
              <a:t> (World Hydropower Congress)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906769" y="2228270"/>
            <a:ext cx="3087623" cy="2031325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0" dirty="0" err="1">
                <a:solidFill>
                  <a:srgbClr val="050505"/>
                </a:solidFill>
                <a:latin typeface="Open Sans"/>
              </a:rPr>
              <a:t>Vrlo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fleksibilne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mogućnosti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proizvodnje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i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skladištenja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hidroenergije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sa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niskim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sadržajem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ugljenika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imaće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ključnu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ulogu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u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budućnosti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u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električnim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mrežama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54981" y="4460418"/>
            <a:ext cx="3486083" cy="2031325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b="0" dirty="0">
                <a:solidFill>
                  <a:srgbClr val="050505"/>
                </a:solidFill>
                <a:latin typeface="Open Sans"/>
              </a:rPr>
              <a:t>Da bi se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globalno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zagrijavanje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zadržalo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na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ispod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2°C, do 2050.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će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biti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potrebno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oko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850 G</a:t>
            </a:r>
            <a:r>
              <a:rPr lang="sr-Latn-ME" b="0" dirty="0">
                <a:solidFill>
                  <a:srgbClr val="050505"/>
                </a:solidFill>
                <a:latin typeface="Open Sans"/>
              </a:rPr>
              <a:t>W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novih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hidroenergetskih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kapaciteta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-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što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predstavlja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sr-Latn-ME" b="0" dirty="0">
                <a:solidFill>
                  <a:srgbClr val="050505"/>
                </a:solidFill>
                <a:latin typeface="Open Sans"/>
              </a:rPr>
              <a:t>nedostatak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r>
              <a:rPr lang="en-US" b="0" dirty="0" err="1">
                <a:solidFill>
                  <a:srgbClr val="050505"/>
                </a:solidFill>
                <a:latin typeface="Open Sans"/>
              </a:rPr>
              <a:t>vec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́</a:t>
            </a:r>
            <a:r>
              <a:rPr lang="sr-Latn-ME" b="0" dirty="0">
                <a:solidFill>
                  <a:srgbClr val="050505"/>
                </a:solidFill>
                <a:latin typeface="Open Sans"/>
              </a:rPr>
              <a:t>i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od 300 G</a:t>
            </a:r>
            <a:r>
              <a:rPr lang="sr-Latn-ME" b="0" dirty="0">
                <a:solidFill>
                  <a:srgbClr val="050505"/>
                </a:solidFill>
                <a:latin typeface="Open Sans"/>
              </a:rPr>
              <a:t>W</a:t>
            </a:r>
            <a:r>
              <a:rPr lang="en-US" b="0" dirty="0">
                <a:solidFill>
                  <a:srgbClr val="050505"/>
                </a:solidFill>
                <a:latin typeface="Open Sans"/>
              </a:rPr>
              <a:t>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1104" y="4484205"/>
            <a:ext cx="5733287" cy="2007538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0242101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4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A6AF8F3-C448-FD4A-BC30-FD8023BCB60C}"/>
              </a:ext>
            </a:extLst>
          </p:cNvPr>
          <p:cNvSpPr txBox="1">
            <a:spLocks/>
          </p:cNvSpPr>
          <p:nvPr/>
        </p:nvSpPr>
        <p:spPr>
          <a:xfrm>
            <a:off x="229151" y="393192"/>
            <a:ext cx="9447971" cy="4457481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>
            <a:noAutofit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/>
            <a:endParaRPr lang="sr-Latn-ME" sz="2400" b="0" kern="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 algn="l">
              <a:buFont typeface="Wingdings" panose="05000000000000000000" pitchFamily="2" charset="2"/>
              <a:buChar char="q"/>
            </a:pPr>
            <a:r>
              <a:rPr lang="sr-Latn-ME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kontrukcija i modernizacija HE Piva – faza II</a:t>
            </a:r>
          </a:p>
          <a:p>
            <a:pPr marL="342900" indent="-342900" algn="l">
              <a:buFont typeface="Wingdings" panose="05000000000000000000" pitchFamily="2" charset="2"/>
              <a:buChar char="q"/>
            </a:pPr>
            <a:endParaRPr lang="sr-Latn-ME" sz="2400" b="0" kern="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 algn="l">
              <a:buFont typeface="Wingdings" panose="05000000000000000000" pitchFamily="2" charset="2"/>
              <a:buChar char="q"/>
            </a:pPr>
            <a:r>
              <a:rPr lang="sr-Latn-ME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konstrukcija i modernizacija HE Perućica – faza II</a:t>
            </a:r>
          </a:p>
          <a:p>
            <a:pPr marL="342900" indent="-342900" algn="l">
              <a:buFont typeface="Wingdings" panose="05000000000000000000" pitchFamily="2" charset="2"/>
              <a:buChar char="q"/>
            </a:pPr>
            <a:endParaRPr lang="sr-Latn-ME" sz="2400" b="0" kern="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 algn="l">
              <a:buFont typeface="Wingdings" panose="05000000000000000000" pitchFamily="2" charset="2"/>
              <a:buChar char="q"/>
            </a:pPr>
            <a:r>
              <a:rPr lang="sr-Latn-ME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 Perućica </a:t>
            </a:r>
            <a:endParaRPr lang="en-GB" sz="2400" b="0" kern="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l"/>
            <a:r>
              <a:rPr lang="en-GB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</a:t>
            </a:r>
            <a:r>
              <a:rPr lang="sr-Latn-ME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agregat A8</a:t>
            </a:r>
          </a:p>
          <a:p>
            <a:pPr marL="342900" indent="-342900" algn="l">
              <a:buFont typeface="Wingdings" panose="05000000000000000000" pitchFamily="2" charset="2"/>
              <a:buChar char="q"/>
            </a:pPr>
            <a:endParaRPr lang="sr-Latn-ME" sz="2400" b="0" kern="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 algn="l">
              <a:buFont typeface="Wingdings" panose="05000000000000000000" pitchFamily="2" charset="2"/>
              <a:buChar char="q"/>
            </a:pPr>
            <a:r>
              <a:rPr lang="en-US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 </a:t>
            </a:r>
            <a:r>
              <a:rPr lang="sr-Latn-ME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arnic</a:t>
            </a:r>
            <a:r>
              <a:rPr lang="en-US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  <a:endParaRPr lang="sr-Latn-ME" sz="2400" b="0" kern="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 algn="l">
              <a:buFont typeface="Wingdings" panose="05000000000000000000" pitchFamily="2" charset="2"/>
              <a:buChar char="q"/>
            </a:pPr>
            <a:endParaRPr lang="sr-Latn-ME" sz="2400" b="0" kern="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 algn="l">
              <a:buFont typeface="Wingdings" panose="05000000000000000000" pitchFamily="2" charset="2"/>
              <a:buChar char="q"/>
            </a:pPr>
            <a:r>
              <a:rPr lang="en-US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 </a:t>
            </a:r>
            <a:r>
              <a:rPr lang="sr-Latn-ME" sz="2400" b="0" kern="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ruševo</a:t>
            </a:r>
          </a:p>
          <a:p>
            <a:pPr marL="342900" indent="-342900" algn="l">
              <a:buFont typeface="Wingdings" panose="05000000000000000000" pitchFamily="2" charset="2"/>
              <a:buChar char="q"/>
            </a:pPr>
            <a:endParaRPr lang="en-US" sz="2400" b="0" kern="0" dirty="0"/>
          </a:p>
          <a:p>
            <a:pPr marL="342900" indent="-342900" algn="l">
              <a:buFont typeface="Wingdings" panose="05000000000000000000" pitchFamily="2" charset="2"/>
              <a:buChar char="q"/>
            </a:pPr>
            <a:endParaRPr lang="sr-Latn-ME" sz="2400" b="0" kern="0" dirty="0"/>
          </a:p>
          <a:p>
            <a:pPr marL="342900" indent="-342900" algn="l">
              <a:buFont typeface="Wingdings" panose="05000000000000000000" pitchFamily="2" charset="2"/>
              <a:buChar char="q"/>
            </a:pPr>
            <a:endParaRPr lang="sr-Latn-ME" sz="2400" b="0" kern="0" dirty="0"/>
          </a:p>
          <a:p>
            <a:pPr marL="342900" indent="-342900" algn="l">
              <a:buFont typeface="Wingdings" panose="05000000000000000000" pitchFamily="2" charset="2"/>
              <a:buChar char="q"/>
            </a:pPr>
            <a:endParaRPr lang="hr-HR" sz="2400" b="0" kern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252" y="2176272"/>
            <a:ext cx="6720840" cy="442436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2228007" y="91350"/>
            <a:ext cx="5878712" cy="66992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400" kern="0" dirty="0">
                <a:solidFill>
                  <a:srgbClr val="FFFF00"/>
                </a:solidFill>
              </a:rPr>
              <a:t>HIDROELEKTRANE</a:t>
            </a:r>
            <a:endParaRPr lang="it-IT" sz="2400" kern="0" dirty="0">
              <a:solidFill>
                <a:srgbClr val="FFFF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5780201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5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978105" y="3687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1793940" y="278165"/>
            <a:ext cx="6545677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Projekat rekonstrukcije i modernizacije HE Piva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– 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Faza II</a:t>
            </a:r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6" name="Picture 2" descr="C:\Users\milos.dedovic\Desktop\heperucica3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737" y="1074057"/>
            <a:ext cx="4539913" cy="5109029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202335678"/>
              </p:ext>
            </p:extLst>
          </p:nvPr>
        </p:nvGraphicFramePr>
        <p:xfrm>
          <a:off x="0" y="1325990"/>
          <a:ext cx="5704114" cy="46051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93816218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6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1894524" y="326912"/>
            <a:ext cx="6545677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Projekat rekonstrukcije i modernizacije HE Perućica 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– 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Faza II</a:t>
            </a:r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3794" name="Picture 2" descr="C:\Users\milos.dedovic\Desktop\heperucica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687" y="4018120"/>
            <a:ext cx="4229711" cy="2469766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5" name="Picture 3" descr="C:\Users\milos.dedovic\Desktop\download (1)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687" y="1280201"/>
            <a:ext cx="4229711" cy="2694371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292148899"/>
              </p:ext>
            </p:extLst>
          </p:nvPr>
        </p:nvGraphicFramePr>
        <p:xfrm>
          <a:off x="5167363" y="1280201"/>
          <a:ext cx="5046602" cy="52076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6512038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7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1894524" y="334962"/>
            <a:ext cx="6545677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Projekat rekonstrukcije i modernizacije HE Perućica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 – 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Instalacija agregata 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A8</a:t>
            </a:r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0723" name="Picture 3" descr="C:\Users\milos.dedovic\Desktop\heperucica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448" y="1636548"/>
            <a:ext cx="3969925" cy="4608058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83388420"/>
              </p:ext>
            </p:extLst>
          </p:nvPr>
        </p:nvGraphicFramePr>
        <p:xfrm>
          <a:off x="454981" y="1636548"/>
          <a:ext cx="5387467" cy="46051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2945945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8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2715064" y="38989"/>
            <a:ext cx="516255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H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E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Komarnica</a:t>
            </a:r>
          </a:p>
        </p:txBody>
      </p:sp>
      <p:pic>
        <p:nvPicPr>
          <p:cNvPr id="34818" name="Picture 2" descr="C:\Users\milos.dedovic\Desktop\1591851825-komarnica-i_960x60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689" y="3810000"/>
            <a:ext cx="4338040" cy="280069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group of people on a mountain&#10;&#10;Description automatically generated">
            <a:extLst>
              <a:ext uri="{FF2B5EF4-FFF2-40B4-BE49-F238E27FC236}">
                <a16:creationId xmlns:a16="http://schemas.microsoft.com/office/drawing/2014/main" id="{67C5C99D-187B-42BC-ABED-7BDAF5740AD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6622"/>
          <a:stretch/>
        </p:blipFill>
        <p:spPr>
          <a:xfrm>
            <a:off x="5416730" y="3810000"/>
            <a:ext cx="4097259" cy="280069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</p:pic>
      <p:sp>
        <p:nvSpPr>
          <p:cNvPr id="9" name="Content Placeholder 6"/>
          <p:cNvSpPr>
            <a:spLocks noGrp="1"/>
          </p:cNvSpPr>
          <p:nvPr>
            <p:ph sz="half" idx="4294967295"/>
          </p:nvPr>
        </p:nvSpPr>
        <p:spPr>
          <a:xfrm>
            <a:off x="1078689" y="669925"/>
            <a:ext cx="8435301" cy="31400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0" lvl="1" indent="0" algn="just">
              <a:buNone/>
            </a:pPr>
            <a:r>
              <a:rPr lang="vi-VN" sz="1800" dirty="0">
                <a:solidFill>
                  <a:schemeClr val="tx2"/>
                </a:solidFill>
              </a:rPr>
              <a:t>Evropska komisija je usvojila 06.10.2020.</a:t>
            </a:r>
            <a:r>
              <a:rPr lang="en-GB" sz="1800" dirty="0">
                <a:solidFill>
                  <a:schemeClr val="tx2"/>
                </a:solidFill>
              </a:rPr>
              <a:t> </a:t>
            </a:r>
            <a:r>
              <a:rPr lang="sr-Latn-ME" sz="1800" dirty="0">
                <a:solidFill>
                  <a:schemeClr val="tx2"/>
                </a:solidFill>
              </a:rPr>
              <a:t>godine</a:t>
            </a:r>
            <a:r>
              <a:rPr lang="vi-VN" sz="1800" dirty="0">
                <a:solidFill>
                  <a:schemeClr val="tx2"/>
                </a:solidFill>
              </a:rPr>
              <a:t> sveobuhvatan ekonomski i investicioni plan za </a:t>
            </a:r>
            <a:r>
              <a:rPr lang="sr-Latn-ME" sz="1800" dirty="0">
                <a:solidFill>
                  <a:schemeClr val="tx2"/>
                </a:solidFill>
              </a:rPr>
              <a:t>Z</a:t>
            </a:r>
            <a:r>
              <a:rPr lang="vi-VN" sz="1800" dirty="0">
                <a:solidFill>
                  <a:schemeClr val="tx2"/>
                </a:solidFill>
              </a:rPr>
              <a:t>apadni Balkan kako bi se uspostavio dugoročni ekonomski oporavak regiona, podržala zelena i digitalna tranzicija, regionalna integracija i konvergencija sa Evropskom unijom</a:t>
            </a:r>
            <a:r>
              <a:rPr lang="en-GB" sz="1800" dirty="0">
                <a:solidFill>
                  <a:schemeClr val="tx2"/>
                </a:solidFill>
              </a:rPr>
              <a:t>.</a:t>
            </a:r>
            <a:r>
              <a:rPr lang="vi-VN" sz="1800" dirty="0">
                <a:solidFill>
                  <a:schemeClr val="tx2"/>
                </a:solidFill>
              </a:rPr>
              <a:t> </a:t>
            </a:r>
            <a:endParaRPr lang="en-GB" sz="1800" dirty="0">
              <a:solidFill>
                <a:schemeClr val="tx2"/>
              </a:solidFill>
            </a:endParaRPr>
          </a:p>
          <a:p>
            <a:pPr marL="0" lvl="1" indent="0" algn="just">
              <a:buNone/>
            </a:pPr>
            <a:r>
              <a:rPr lang="en-GB" sz="1800" dirty="0">
                <a:solidFill>
                  <a:schemeClr val="tx2"/>
                </a:solidFill>
              </a:rPr>
              <a:t>U </a:t>
            </a:r>
            <a:r>
              <a:rPr lang="vi-VN" sz="1800" dirty="0">
                <a:solidFill>
                  <a:schemeClr val="tx2"/>
                </a:solidFill>
              </a:rPr>
              <a:t>oblasti energetike u okviru takozvane </a:t>
            </a:r>
            <a:r>
              <a:rPr lang="sr-Latn-ME" sz="1800" dirty="0">
                <a:solidFill>
                  <a:schemeClr val="tx2"/>
                </a:solidFill>
              </a:rPr>
              <a:t>F</a:t>
            </a:r>
            <a:r>
              <a:rPr lang="vi-VN" sz="1800" dirty="0">
                <a:solidFill>
                  <a:schemeClr val="tx2"/>
                </a:solidFill>
              </a:rPr>
              <a:t>lagship-4-RENEWABLE ENERGY, Evropska komisija je identifikovala četiri konkretna projekta koja će biti podržana, uključujući projekat izgradnje HE Komarnica</a:t>
            </a:r>
            <a:endParaRPr lang="en-US" sz="1800" dirty="0">
              <a:solidFill>
                <a:schemeClr val="tx2"/>
              </a:solidFill>
            </a:endParaRPr>
          </a:p>
          <a:p>
            <a:pPr marL="0" lvl="1" indent="0" algn="just">
              <a:buNone/>
            </a:pPr>
            <a:endParaRPr lang="sr-Latn-ME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7844848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19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2841878" y="0"/>
            <a:ext cx="516255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Environmental and 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S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ocial 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F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ramework</a:t>
            </a:r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Content Placeholder 6"/>
          <p:cNvSpPr>
            <a:spLocks noGrp="1"/>
          </p:cNvSpPr>
          <p:nvPr>
            <p:ph sz="half" idx="4294967295"/>
          </p:nvPr>
        </p:nvSpPr>
        <p:spPr>
          <a:xfrm>
            <a:off x="454981" y="761998"/>
            <a:ext cx="9461905" cy="104503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t"/>
          <a:lstStyle/>
          <a:p>
            <a:pPr marL="2857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sr-Latn-ME" sz="1600" dirty="0">
                <a:solidFill>
                  <a:schemeClr val="tx2"/>
                </a:solidFill>
              </a:rPr>
              <a:t> Climate resiliance</a:t>
            </a:r>
          </a:p>
          <a:p>
            <a:pPr marL="2857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sr-Latn-ME" sz="1600" dirty="0">
                <a:solidFill>
                  <a:schemeClr val="tx2"/>
                </a:solidFill>
              </a:rPr>
              <a:t> Environmental and social impact assestment</a:t>
            </a:r>
          </a:p>
          <a:p>
            <a:pPr marL="2857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sr-Latn-ME" sz="1600" dirty="0">
                <a:solidFill>
                  <a:schemeClr val="tx2"/>
                </a:solidFill>
              </a:rPr>
              <a:t> Full transparency and inclusion</a:t>
            </a:r>
            <a:endParaRPr lang="en-US" sz="1600" dirty="0">
              <a:solidFill>
                <a:schemeClr val="tx2"/>
              </a:solidFill>
            </a:endParaRPr>
          </a:p>
          <a:p>
            <a:pPr marL="0" lvl="1" indent="0">
              <a:buNone/>
            </a:pPr>
            <a:endParaRPr lang="sr-Latn-ME" sz="1600" dirty="0"/>
          </a:p>
        </p:txBody>
      </p:sp>
      <p:pic>
        <p:nvPicPr>
          <p:cNvPr id="30723" name="Picture 3" descr="C:\Users\milos.dedovic\Desktop\Capture1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363" y="1807028"/>
            <a:ext cx="4749523" cy="451757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C:\Users\milos.dedovic\Desktop\Captur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981" y="1807028"/>
            <a:ext cx="4648242" cy="4517572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4123214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A6AF8F3-C448-FD4A-BC30-FD8023BCB60C}"/>
              </a:ext>
            </a:extLst>
          </p:cNvPr>
          <p:cNvSpPr txBox="1">
            <a:spLocks/>
          </p:cNvSpPr>
          <p:nvPr/>
        </p:nvSpPr>
        <p:spPr>
          <a:xfrm>
            <a:off x="3031322" y="5372054"/>
            <a:ext cx="4238158" cy="1211627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txBody>
          <a:bodyPr>
            <a:normAutofit fontScale="77500" lnSpcReduction="20000"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US" sz="3200" kern="0" dirty="0"/>
          </a:p>
          <a:p>
            <a:r>
              <a:rPr lang="en-US" sz="3200" kern="0" dirty="0"/>
              <a:t>European Green Deal</a:t>
            </a:r>
            <a:br>
              <a:rPr lang="hr-HR" sz="3200" kern="0" dirty="0"/>
            </a:br>
            <a:endParaRPr lang="hr-HR" sz="3200" kern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2581" y="354629"/>
            <a:ext cx="7559695" cy="481625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extrusionH="76200" contourW="44450" prstMaterial="matte">
            <a:bevelT w="63500" h="63500" prst="artDeco"/>
            <a:extrusionClr>
              <a:srgbClr val="92D050"/>
            </a:extrusionClr>
            <a:contourClr>
              <a:srgbClr val="92D050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14695197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0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567385" y="0"/>
            <a:ext cx="9343148" cy="1086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it-IT" sz="2400" kern="0" dirty="0">
                <a:solidFill>
                  <a:schemeClr val="accent1">
                    <a:lumMod val="50000"/>
                  </a:schemeClr>
                </a:solidFill>
              </a:rPr>
              <a:t>Tehničke karakteristike HE Komarnica</a:t>
            </a:r>
          </a:p>
        </p:txBody>
      </p:sp>
      <p:sp>
        <p:nvSpPr>
          <p:cNvPr id="5" name="Rectangle 4"/>
          <p:cNvSpPr/>
          <p:nvPr/>
        </p:nvSpPr>
        <p:spPr>
          <a:xfrm>
            <a:off x="405115" y="914400"/>
            <a:ext cx="5949386" cy="5770811"/>
          </a:xfrm>
          <a:prstGeom prst="rect">
            <a:avLst/>
          </a:prstGeom>
          <a:gradFill>
            <a:gsLst>
              <a:gs pos="0">
                <a:schemeClr val="accent2">
                  <a:lumMod val="60000"/>
                  <a:lumOff val="4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6200000" scaled="1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txBody>
          <a:bodyPr wrap="square">
            <a:spAutoFit/>
          </a:bodyPr>
          <a:lstStyle/>
          <a:p>
            <a:pPr lvl="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tabLst>
                <a:tab pos="3420000" algn="l"/>
              </a:tabLst>
            </a:pPr>
            <a:endParaRPr lang="en-GB" sz="1500" dirty="0">
              <a:solidFill>
                <a:srgbClr val="99CCFF">
                  <a:lumMod val="2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ea typeface="PMingLiU" panose="02020500000000000000" pitchFamily="18" charset="-120"/>
              <a:cs typeface="Arial" panose="020B0604020202020204" pitchFamily="34" charset="0"/>
            </a:endParaRPr>
          </a:p>
          <a:p>
            <a:pPr lvl="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tabLst>
                <a:tab pos="3420000" algn="l"/>
              </a:tabLst>
            </a:pPr>
            <a:r>
              <a:rPr lang="sr-Latn-CS" sz="1500" dirty="0">
                <a:solidFill>
                  <a:srgbClr val="99CCFF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Betonska lučna brana sa pribranskom</a:t>
            </a:r>
            <a:r>
              <a:rPr lang="en-GB" sz="1500" dirty="0">
                <a:solidFill>
                  <a:srgbClr val="99CCFF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 </a:t>
            </a:r>
            <a:r>
              <a:rPr lang="sr-Latn-CS" sz="1500" dirty="0">
                <a:solidFill>
                  <a:srgbClr val="99CCFF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elektranom, čeonim prelivom sa</a:t>
            </a:r>
            <a:r>
              <a:rPr lang="en-GB" sz="1500" dirty="0">
                <a:solidFill>
                  <a:srgbClr val="99CCFF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 </a:t>
            </a:r>
            <a:r>
              <a:rPr lang="sr-Latn-CS" sz="1500" dirty="0">
                <a:solidFill>
                  <a:srgbClr val="99CCFF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ustavama i odvodnim tunelom u l</a:t>
            </a:r>
            <a:r>
              <a:rPr lang="en-GB" sz="1500" dirty="0" err="1">
                <a:solidFill>
                  <a:srgbClr val="99CCFF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ij</a:t>
            </a:r>
            <a:r>
              <a:rPr lang="sr-Latn-CS" sz="1500" dirty="0">
                <a:solidFill>
                  <a:srgbClr val="99CCFF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evom boku st</a:t>
            </a:r>
            <a:r>
              <a:rPr lang="en-GB" sz="1500" dirty="0" err="1">
                <a:solidFill>
                  <a:srgbClr val="99CCFF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ij</a:t>
            </a:r>
            <a:r>
              <a:rPr lang="sr-Latn-CS" sz="1500" dirty="0">
                <a:solidFill>
                  <a:srgbClr val="99CCFF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enske mase.</a:t>
            </a:r>
            <a:endParaRPr lang="en-GB" sz="1500" dirty="0">
              <a:solidFill>
                <a:srgbClr val="146194">
                  <a:lumMod val="75000"/>
                </a:srgbClr>
              </a:solidFill>
              <a:latin typeface="Century Gothic"/>
              <a:ea typeface="PMingLiU" panose="02020500000000000000" pitchFamily="18" charset="-120"/>
              <a:cs typeface="Arial" panose="020B0604020202020204" pitchFamily="34" charset="0"/>
            </a:endParaRPr>
          </a:p>
          <a:p>
            <a:pPr marL="342900" indent="-34290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3420000" algn="l"/>
              </a:tabLst>
            </a:pPr>
            <a:r>
              <a:rPr lang="sr-Latn-CS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Kota normalnog uspora:</a:t>
            </a:r>
            <a:r>
              <a:rPr lang="sr-Latn-CS" sz="1500" b="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	</a:t>
            </a:r>
            <a:r>
              <a:rPr lang="sr-Latn-CS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811 mnm</a:t>
            </a:r>
          </a:p>
          <a:p>
            <a:pPr marL="342900" indent="-34290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3420000" algn="l"/>
              </a:tabLst>
            </a:pPr>
            <a:r>
              <a:rPr lang="sr-Latn-CS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Zapremina akumulacije:	</a:t>
            </a:r>
            <a:r>
              <a:rPr lang="sr-Latn-CS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227 mil. m3</a:t>
            </a:r>
            <a:r>
              <a:rPr lang="sr-Latn-CS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	</a:t>
            </a:r>
            <a:endParaRPr lang="en-GB" sz="1500" dirty="0">
              <a:solidFill>
                <a:srgbClr val="146194">
                  <a:lumMod val="75000"/>
                </a:srgbClr>
              </a:solidFill>
              <a:latin typeface="Century Gothic"/>
              <a:ea typeface="PMingLiU" panose="02020500000000000000" pitchFamily="18" charset="-120"/>
              <a:cs typeface="Arial" panose="020B0604020202020204" pitchFamily="34" charset="0"/>
            </a:endParaRPr>
          </a:p>
          <a:p>
            <a:pPr marL="342900" indent="-34290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3420000" algn="l"/>
              </a:tabLst>
            </a:pPr>
            <a:r>
              <a:rPr lang="sr-Latn-CS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Visina brane:	</a:t>
            </a:r>
            <a:r>
              <a:rPr lang="sr-Latn-CS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171 m</a:t>
            </a:r>
          </a:p>
          <a:p>
            <a:pPr marL="342900" indent="-34290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3420000" algn="l"/>
              </a:tabLst>
            </a:pPr>
            <a:r>
              <a:rPr lang="sr-Latn-CS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Instalisani protok:	</a:t>
            </a:r>
            <a:r>
              <a:rPr lang="sr-Latn-CS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130+8 m3/s</a:t>
            </a:r>
            <a:endParaRPr lang="en-GB" sz="15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ea typeface="PMingLiU" panose="02020500000000000000" pitchFamily="18" charset="-120"/>
              <a:cs typeface="Arial" panose="020B0604020202020204" pitchFamily="34" charset="0"/>
            </a:endParaRPr>
          </a:p>
          <a:p>
            <a:pPr marL="342900" indent="-34290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3420000" algn="l"/>
              </a:tabLst>
            </a:pPr>
            <a:r>
              <a:rPr lang="sr-Latn-ME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Snaga</a:t>
            </a:r>
            <a:r>
              <a:rPr lang="en-GB" sz="1600" dirty="0">
                <a:ea typeface="PMingLiU" panose="02020500000000000000" pitchFamily="18" charset="-120"/>
                <a:cs typeface="Arial" panose="020B0604020202020204" pitchFamily="34" charset="0"/>
              </a:rPr>
              <a:t> </a:t>
            </a:r>
            <a:r>
              <a:rPr lang="en-GB" sz="1500" dirty="0" err="1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generatora</a:t>
            </a:r>
            <a:r>
              <a:rPr lang="sr-Latn-ME" sz="1600" dirty="0"/>
              <a:t> </a:t>
            </a:r>
            <a:r>
              <a:rPr lang="en-GB" sz="1600" dirty="0"/>
              <a:t>                   </a:t>
            </a:r>
            <a:r>
              <a:rPr lang="en-GB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2 x </a:t>
            </a:r>
            <a:r>
              <a:rPr lang="sr-Latn-ME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81 MW+ 9.9 MW </a:t>
            </a:r>
            <a:endParaRPr lang="sr-Latn-CS" sz="15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ea typeface="PMingLiU" panose="02020500000000000000" pitchFamily="18" charset="-120"/>
              <a:cs typeface="Arial" panose="020B0604020202020204" pitchFamily="34" charset="0"/>
            </a:endParaRPr>
          </a:p>
          <a:p>
            <a:pPr marL="342900" indent="-34290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3420000" algn="l"/>
              </a:tabLst>
            </a:pPr>
            <a:r>
              <a:rPr lang="sr-Latn-CS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Maksimalna snaga:	</a:t>
            </a:r>
            <a:r>
              <a:rPr lang="sr-Latn-CS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1</a:t>
            </a:r>
            <a:r>
              <a:rPr lang="en-GB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71,9</a:t>
            </a:r>
            <a:r>
              <a:rPr lang="sr-Latn-CS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 MW</a:t>
            </a:r>
          </a:p>
          <a:p>
            <a:pPr marL="342900" indent="-34290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3420000" algn="l"/>
              </a:tabLst>
            </a:pPr>
            <a:r>
              <a:rPr lang="sr-Latn-CS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Godišnja proizvodnja:	</a:t>
            </a:r>
            <a:r>
              <a:rPr lang="sr-Latn-CS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213 GWh</a:t>
            </a:r>
          </a:p>
          <a:p>
            <a:pPr marL="342900" indent="-34290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3420000" algn="l"/>
              </a:tabLst>
            </a:pPr>
            <a:r>
              <a:rPr lang="sr-Latn-CS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Investiciona vr</a:t>
            </a:r>
            <a:r>
              <a:rPr lang="en-GB" sz="1500" dirty="0" err="1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ij</a:t>
            </a:r>
            <a:r>
              <a:rPr lang="sr-Latn-CS" sz="1500" dirty="0">
                <a:solidFill>
                  <a:srgbClr val="146194">
                    <a:lumMod val="75000"/>
                  </a:srgbClr>
                </a:solidFill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ednost:	</a:t>
            </a:r>
            <a:r>
              <a:rPr lang="sr-Latn-CS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260 – 290 </a:t>
            </a:r>
            <a:r>
              <a:rPr lang="en-GB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ea typeface="PMingLiU" panose="02020500000000000000" pitchFamily="18" charset="-120"/>
                <a:cs typeface="Arial" panose="020B0604020202020204" pitchFamily="34" charset="0"/>
              </a:rPr>
              <a:t>M</a:t>
            </a:r>
            <a:r>
              <a:rPr lang="sr-Latn-CS" sz="1500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€</a:t>
            </a:r>
            <a:endParaRPr lang="en-GB" sz="15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 algn="just" fontAlgn="auto">
              <a:lnSpc>
                <a:spcPct val="150000"/>
              </a:lnSpc>
              <a:spcBef>
                <a:spcPts val="300"/>
              </a:spcBef>
              <a:spcAft>
                <a:spcPts val="600"/>
              </a:spcAft>
              <a:buFont typeface="Symbol" panose="05050102010706020507" pitchFamily="18" charset="2"/>
              <a:buChar char=""/>
              <a:tabLst>
                <a:tab pos="3420000" algn="l"/>
              </a:tabLst>
            </a:pPr>
            <a:endParaRPr lang="sr-Latn-CS" sz="1500" b="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/>
              <a:ea typeface="PMingLiU" panose="02020500000000000000" pitchFamily="18" charset="-12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994B86-5A94-44D2-8038-C34F83FFF70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52396" t="14063" r="7945" b="14024"/>
          <a:stretch/>
        </p:blipFill>
        <p:spPr>
          <a:xfrm>
            <a:off x="6354501" y="914400"/>
            <a:ext cx="3556032" cy="5770811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22418482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1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2586088" y="155448"/>
            <a:ext cx="516255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HE 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Kruševo</a:t>
            </a:r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F6BEC6-A03B-44EF-980E-D7B2BFD5EB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981" y="984574"/>
            <a:ext cx="1849307" cy="2645013"/>
          </a:xfrm>
          <a:prstGeom prst="rect">
            <a:avLst/>
          </a:prstGeom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4500000">
              <a:rot lat="0" lon="20399988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72D468D-F65D-4C4F-9C13-60058C3F56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9342" y="3944437"/>
            <a:ext cx="1864946" cy="2645013"/>
          </a:xfrm>
          <a:prstGeom prst="rect">
            <a:avLst/>
          </a:prstGeom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4500000">
              <a:rot lat="0" lon="20399988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472979A-3C76-4591-9F12-7FA7E390C14A}"/>
              </a:ext>
            </a:extLst>
          </p:cNvPr>
          <p:cNvSpPr/>
          <p:nvPr/>
        </p:nvSpPr>
        <p:spPr>
          <a:xfrm>
            <a:off x="2520301" y="980821"/>
            <a:ext cx="2993531" cy="255454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algn="just"/>
            <a:r>
              <a:rPr lang="sr-Latn-RS" sz="1600" dirty="0">
                <a:solidFill>
                  <a:schemeClr val="tx2"/>
                </a:solidFill>
              </a:rPr>
              <a:t>HE Kruševo je analizirana u okviru projekta Svjetske banke </a:t>
            </a:r>
            <a:r>
              <a:rPr lang="sr-Latn-RS" sz="1600" b="1" dirty="0">
                <a:solidFill>
                  <a:schemeClr val="tx2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drška upravljanju vodnim resursima u slivu rijeke Drine</a:t>
            </a:r>
            <a:r>
              <a:rPr lang="sr-Latn-RS" sz="1600" b="1" dirty="0">
                <a:solidFill>
                  <a:schemeClr val="tx2"/>
                </a:solidFill>
              </a:rPr>
              <a:t>:</a:t>
            </a:r>
            <a:r>
              <a:rPr lang="sr-Latn-RS" sz="1600" dirty="0">
                <a:solidFill>
                  <a:schemeClr val="tx2"/>
                </a:solidFill>
              </a:rPr>
              <a:t> COWI AS (Norveška), STUCKY LTD (Švajcarska) i Institut "Jaroslav Černi" (Srbija) (2016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70E9317-CE8E-484A-95EA-DF2BB33CDBB4}"/>
              </a:ext>
            </a:extLst>
          </p:cNvPr>
          <p:cNvSpPr/>
          <p:nvPr/>
        </p:nvSpPr>
        <p:spPr>
          <a:xfrm>
            <a:off x="2586088" y="4112781"/>
            <a:ext cx="3421519" cy="230832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r>
              <a:rPr lang="sr-Latn-RS" sz="1600" dirty="0">
                <a:solidFill>
                  <a:schemeClr val="tx2"/>
                </a:solidFill>
              </a:rPr>
              <a:t>HE Kruševo je analizirana i u okviru dokumentacije </a:t>
            </a:r>
            <a:r>
              <a:rPr lang="sr-Latn-RS" sz="1600" b="1" u="sng" dirty="0">
                <a:solidFill>
                  <a:schemeClr val="tx2"/>
                </a:solidFill>
              </a:rPr>
              <a:t>Regionalna strategija za održivu hidroenergetiku Zapadnog Balkana </a:t>
            </a:r>
            <a:r>
              <a:rPr lang="sr-Latn-RS" sz="1600" b="1" dirty="0">
                <a:solidFill>
                  <a:schemeClr val="tx2"/>
                </a:solidFill>
              </a:rPr>
              <a:t>- </a:t>
            </a:r>
            <a:r>
              <a:rPr lang="sr-Latn-RS" sz="1600" dirty="0">
                <a:solidFill>
                  <a:schemeClr val="tx2"/>
                </a:solidFill>
              </a:rPr>
              <a:t>Western Balkans Investment Framework-a: Mott Macdonald i IPF Consortium, (2017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84B7492-B7F6-4D3C-A63E-F6C766D807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05967" y="982697"/>
            <a:ext cx="4090178" cy="2648766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  <p:sp>
        <p:nvSpPr>
          <p:cNvPr id="12" name="Arrow: Right 1">
            <a:extLst>
              <a:ext uri="{FF2B5EF4-FFF2-40B4-BE49-F238E27FC236}">
                <a16:creationId xmlns:a16="http://schemas.microsoft.com/office/drawing/2014/main" id="{C93928A3-6A1A-4920-89BD-D237BAB56883}"/>
              </a:ext>
            </a:extLst>
          </p:cNvPr>
          <p:cNvSpPr/>
          <p:nvPr/>
        </p:nvSpPr>
        <p:spPr>
          <a:xfrm>
            <a:off x="5650276" y="1994853"/>
            <a:ext cx="555690" cy="275207"/>
          </a:xfrm>
          <a:prstGeom prst="rightArrow">
            <a:avLst/>
          </a:prstGeom>
          <a:solidFill>
            <a:srgbClr val="FF0000">
              <a:alpha val="66000"/>
            </a:srgbClr>
          </a:solidFill>
          <a:ln w="22225" cmpd="dbl">
            <a:solidFill>
              <a:srgbClr val="FF0000">
                <a:alpha val="89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3F87B19-DF7A-4AC8-A4E3-8875476A8EA0}"/>
              </a:ext>
            </a:extLst>
          </p:cNvPr>
          <p:cNvSpPr txBox="1">
            <a:spLocks/>
          </p:cNvSpPr>
          <p:nvPr/>
        </p:nvSpPr>
        <p:spPr>
          <a:xfrm>
            <a:off x="6289409" y="4554583"/>
            <a:ext cx="3778135" cy="792480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t">
            <a:normAutofit fontScale="77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sr-Latn-RS" sz="3200" b="1" dirty="0">
                <a:solidFill>
                  <a:srgbClr val="0046AD"/>
                </a:solidFill>
              </a:rPr>
              <a:t>HE KRUŠEVO </a:t>
            </a:r>
            <a:r>
              <a:rPr lang="sr-Latn-RS" sz="2400" b="1" dirty="0">
                <a:solidFill>
                  <a:srgbClr val="0046AD"/>
                </a:solidFill>
              </a:rPr>
              <a:t>(nizvodni profil)</a:t>
            </a:r>
            <a:endParaRPr lang="en-US" sz="3200" b="1" dirty="0">
              <a:solidFill>
                <a:srgbClr val="0046AD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6708873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2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2A6E7E9-FABD-4828-821B-23517BF28F20}"/>
              </a:ext>
            </a:extLst>
          </p:cNvPr>
          <p:cNvSpPr txBox="1">
            <a:spLocks/>
          </p:cNvSpPr>
          <p:nvPr/>
        </p:nvSpPr>
        <p:spPr>
          <a:xfrm>
            <a:off x="1012375" y="128033"/>
            <a:ext cx="3488475" cy="81652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t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</a:rPr>
              <a:t>Sledeći korak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rebuchet M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F70AAF-1710-46EE-A1CE-2CA71E4ED713}"/>
              </a:ext>
            </a:extLst>
          </p:cNvPr>
          <p:cNvSpPr/>
          <p:nvPr/>
        </p:nvSpPr>
        <p:spPr>
          <a:xfrm>
            <a:off x="1012375" y="1041333"/>
            <a:ext cx="8746881" cy="229293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8575">
            <a:solidFill>
              <a:schemeClr val="accent1">
                <a:lumMod val="50000"/>
              </a:schemeClr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>
            <a:spAutoFit/>
          </a:bodyPr>
          <a:lstStyle/>
          <a:p>
            <a:endParaRPr lang="sr-Latn-RS" dirty="0">
              <a:solidFill>
                <a:schemeClr val="tx2"/>
              </a:solidFill>
            </a:endParaRPr>
          </a:p>
          <a:p>
            <a:pPr algn="ctr"/>
            <a:r>
              <a:rPr lang="sr-Latn-RS" sz="2400" b="1" dirty="0">
                <a:solidFill>
                  <a:schemeClr val="tx2"/>
                </a:solidFill>
              </a:rPr>
              <a:t>Izrada Studije HE Kruševo </a:t>
            </a:r>
          </a:p>
          <a:p>
            <a:pPr algn="ctr"/>
            <a:r>
              <a:rPr lang="sr-Latn-RS" sz="1100" b="1" dirty="0">
                <a:solidFill>
                  <a:schemeClr val="tx2"/>
                </a:solidFill>
              </a:rPr>
              <a:t> </a:t>
            </a:r>
          </a:p>
          <a:p>
            <a:pPr marL="2151063" indent="-2151063"/>
            <a:r>
              <a:rPr lang="sr-Latn-RS" dirty="0">
                <a:solidFill>
                  <a:schemeClr val="tx2"/>
                </a:solidFill>
              </a:rPr>
              <a:t>Osnovni cilj studije:	sagledavanje svih uslova za iskorišćenje     hidroenergetskog potencijala rijeke Pive nizvodno od HE Piva i opredjeljenje za najpovoljniju varijantu</a:t>
            </a:r>
          </a:p>
          <a:p>
            <a:pPr marL="2151063" indent="-2151063"/>
            <a:endParaRPr lang="sr-Latn-R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C9042B5-8A90-4636-A78C-77F0F8FF235C}"/>
              </a:ext>
            </a:extLst>
          </p:cNvPr>
          <p:cNvSpPr/>
          <p:nvPr/>
        </p:nvSpPr>
        <p:spPr>
          <a:xfrm>
            <a:off x="1012375" y="3431039"/>
            <a:ext cx="4373440" cy="341632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8575">
            <a:solidFill>
              <a:schemeClr val="accent1">
                <a:lumMod val="50000"/>
              </a:schemeClr>
            </a:solidFill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>
            <a:spAutoFit/>
          </a:bodyPr>
          <a:lstStyle/>
          <a:p>
            <a:endParaRPr lang="sr-Latn-RS" b="1" dirty="0">
              <a:solidFill>
                <a:srgbClr val="FF0000"/>
              </a:solidFill>
            </a:endParaRPr>
          </a:p>
          <a:p>
            <a:pPr marL="2151063" indent="-2151063"/>
            <a:r>
              <a:rPr lang="sr-Latn-RS" b="1" dirty="0">
                <a:solidFill>
                  <a:schemeClr val="tx2"/>
                </a:solidFill>
              </a:rPr>
              <a:t>Dvije opcije obuhvata Studije:</a:t>
            </a:r>
          </a:p>
          <a:p>
            <a:pPr marL="2151063" indent="-2151063"/>
            <a:endParaRPr lang="sr-Latn-RS" b="1" dirty="0">
              <a:solidFill>
                <a:schemeClr val="tx2"/>
              </a:solidFill>
            </a:endParaRPr>
          </a:p>
          <a:p>
            <a:pPr marL="809625" indent="-809625"/>
            <a:r>
              <a:rPr lang="sr-Latn-RS" b="1" dirty="0">
                <a:solidFill>
                  <a:schemeClr val="tx2"/>
                </a:solidFill>
              </a:rPr>
              <a:t>	1. Opcija – analiza uzvodnog i nizvodnog profila</a:t>
            </a:r>
          </a:p>
          <a:p>
            <a:pPr marL="2151063" indent="-2151063"/>
            <a:endParaRPr lang="sr-Latn-RS" b="1" dirty="0">
              <a:solidFill>
                <a:schemeClr val="tx2"/>
              </a:solidFill>
            </a:endParaRPr>
          </a:p>
          <a:p>
            <a:pPr marL="809625" indent="-809625"/>
            <a:r>
              <a:rPr lang="sr-Latn-RS" b="1" dirty="0">
                <a:solidFill>
                  <a:schemeClr val="tx2"/>
                </a:solidFill>
              </a:rPr>
              <a:t>	2. Opcija – analiza samo uzvodnog profila </a:t>
            </a:r>
            <a:br>
              <a:rPr lang="sr-Latn-RS" b="1" dirty="0">
                <a:solidFill>
                  <a:schemeClr val="tx2"/>
                </a:solidFill>
              </a:rPr>
            </a:br>
            <a:r>
              <a:rPr lang="sr-Latn-RS" b="1" dirty="0">
                <a:solidFill>
                  <a:schemeClr val="tx2"/>
                </a:solidFill>
              </a:rPr>
              <a:t>(odbacivanje nizvodnog profila)</a:t>
            </a:r>
          </a:p>
          <a:p>
            <a:endParaRPr lang="sr-Latn-RS" b="1" dirty="0">
              <a:solidFill>
                <a:srgbClr val="FF0000"/>
              </a:solidFill>
            </a:endParaRPr>
          </a:p>
        </p:txBody>
      </p:sp>
      <p:pic>
        <p:nvPicPr>
          <p:cNvPr id="8" name="Picture 7" descr="A bridge over a body of water&#10;&#10;Description automatically generated">
            <a:extLst>
              <a:ext uri="{FF2B5EF4-FFF2-40B4-BE49-F238E27FC236}">
                <a16:creationId xmlns:a16="http://schemas.microsoft.com/office/drawing/2014/main" id="{B306A287-3C92-4BF3-BF53-C13C66A6D3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2976" y="3431040"/>
            <a:ext cx="4236281" cy="3398818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02918937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3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2" name="Rectangle 1"/>
          <p:cNvSpPr/>
          <p:nvPr/>
        </p:nvSpPr>
        <p:spPr>
          <a:xfrm>
            <a:off x="564372" y="1017134"/>
            <a:ext cx="4501113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en-US" cap="all" dirty="0"/>
          </a:p>
          <a:p>
            <a:pPr lvl="0">
              <a:buFont typeface="Wingdings" panose="05000000000000000000" pitchFamily="2" charset="2"/>
              <a:buChar char="Ø"/>
            </a:pPr>
            <a:endParaRPr lang="en-US" cap="all" dirty="0"/>
          </a:p>
          <a:p>
            <a:pPr marL="0" lvl="1" indent="0" algn="just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b="0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/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lvl="0">
              <a:buFont typeface="Wingdings" panose="05000000000000000000" pitchFamily="2" charset="2"/>
              <a:buChar char="Ø"/>
            </a:pPr>
            <a:endParaRPr lang="en-US" cap="all" dirty="0"/>
          </a:p>
          <a:p>
            <a:endParaRPr lang="sr-Latn-ME" b="0" dirty="0">
              <a:latin typeface="+mn-lt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324784" y="115130"/>
            <a:ext cx="5162550" cy="902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en-GB" sz="2400" kern="0" dirty="0">
              <a:solidFill>
                <a:schemeClr val="accent1">
                  <a:lumMod val="50000"/>
                </a:schemeClr>
              </a:solidFill>
            </a:endParaRPr>
          </a:p>
          <a:p>
            <a:pPr eaLnBrk="1" hangingPunct="1"/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VE </a:t>
            </a:r>
            <a:r>
              <a:rPr lang="en-US" sz="2400" kern="0" dirty="0" err="1">
                <a:solidFill>
                  <a:schemeClr val="accent1">
                    <a:lumMod val="50000"/>
                  </a:schemeClr>
                </a:solidFill>
              </a:rPr>
              <a:t>Gvozd</a:t>
            </a:r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5839" y="115130"/>
            <a:ext cx="5393923" cy="638727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</p:pic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119715649"/>
              </p:ext>
            </p:extLst>
          </p:nvPr>
        </p:nvGraphicFramePr>
        <p:xfrm>
          <a:off x="1070503" y="1638494"/>
          <a:ext cx="3671112" cy="53201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600396005"/>
              </p:ext>
            </p:extLst>
          </p:nvPr>
        </p:nvGraphicFramePr>
        <p:xfrm>
          <a:off x="-215349" y="561213"/>
          <a:ext cx="4965150" cy="32487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23859175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4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2" name="Rectangle 1"/>
          <p:cNvSpPr/>
          <p:nvPr/>
        </p:nvSpPr>
        <p:spPr>
          <a:xfrm>
            <a:off x="564372" y="1026278"/>
            <a:ext cx="4501113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en-US" cap="all" dirty="0"/>
          </a:p>
          <a:p>
            <a:pPr lvl="0">
              <a:buFont typeface="Wingdings" panose="05000000000000000000" pitchFamily="2" charset="2"/>
              <a:buChar char="Ø"/>
            </a:pPr>
            <a:endParaRPr lang="en-US" cap="all" dirty="0"/>
          </a:p>
          <a:p>
            <a:pPr marL="0" lvl="1" indent="0" algn="just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b="0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/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marL="0" lvl="1" indent="0">
              <a:buFont typeface="Wingdings" panose="05000000000000000000" pitchFamily="2" charset="2"/>
              <a:buChar char="Ø"/>
            </a:pPr>
            <a:endParaRPr lang="en-US" dirty="0"/>
          </a:p>
          <a:p>
            <a:pPr lvl="0">
              <a:buFont typeface="Wingdings" panose="05000000000000000000" pitchFamily="2" charset="2"/>
              <a:buChar char="Ø"/>
            </a:pPr>
            <a:endParaRPr lang="en-US" cap="all" dirty="0"/>
          </a:p>
          <a:p>
            <a:endParaRPr lang="sr-Latn-ME" b="0" dirty="0">
              <a:latin typeface="+mn-lt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2586088" y="-1"/>
            <a:ext cx="516255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VE </a:t>
            </a:r>
            <a:r>
              <a:rPr lang="en-US" sz="2400" kern="0" dirty="0" err="1">
                <a:solidFill>
                  <a:schemeClr val="accent1">
                    <a:lumMod val="50000"/>
                  </a:schemeClr>
                </a:solidFill>
              </a:rPr>
              <a:t>Gvozd</a:t>
            </a:r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032141093"/>
              </p:ext>
            </p:extLst>
          </p:nvPr>
        </p:nvGraphicFramePr>
        <p:xfrm>
          <a:off x="4727448" y="669923"/>
          <a:ext cx="5548665" cy="5967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636" y="669923"/>
            <a:ext cx="4481812" cy="2998533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636" y="3668457"/>
            <a:ext cx="4481812" cy="2968954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202423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5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17137" y="360690"/>
            <a:ext cx="8177349" cy="66992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it-IT" sz="2000" kern="0" dirty="0">
                <a:solidFill>
                  <a:srgbClr val="FFFF00"/>
                </a:solidFill>
              </a:rPr>
              <a:t>SOLARNE ELEKTRAN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A6AF8F3-C448-FD4A-BC30-FD8023BCB60C}"/>
              </a:ext>
            </a:extLst>
          </p:cNvPr>
          <p:cNvSpPr txBox="1">
            <a:spLocks/>
          </p:cNvSpPr>
          <p:nvPr/>
        </p:nvSpPr>
        <p:spPr>
          <a:xfrm>
            <a:off x="454979" y="1645919"/>
            <a:ext cx="9301667" cy="423367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>
            <a:noAutofit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marL="342900" indent="-342900" algn="l">
              <a:buFont typeface="Wingdings" panose="05000000000000000000" pitchFamily="2" charset="2"/>
              <a:buChar char="v"/>
            </a:pPr>
            <a:endParaRPr lang="sr-Latn-ME" sz="2400" b="0" kern="0" dirty="0">
              <a:solidFill>
                <a:srgbClr val="000000"/>
              </a:solidFill>
            </a:endParaRPr>
          </a:p>
          <a:p>
            <a:pPr marL="342900" indent="-342900" algn="l">
              <a:buFont typeface="Wingdings" panose="05000000000000000000" pitchFamily="2" charset="2"/>
              <a:buChar char="v"/>
            </a:pPr>
            <a:endParaRPr lang="sr-Latn-ME" sz="2400" b="0" kern="0" dirty="0">
              <a:solidFill>
                <a:srgbClr val="FFFF00"/>
              </a:solidFill>
            </a:endParaRPr>
          </a:p>
          <a:p>
            <a:pPr marL="342900" indent="-342900" algn="l">
              <a:buFont typeface="Wingdings" panose="05000000000000000000" pitchFamily="2" charset="2"/>
              <a:buChar char="v"/>
            </a:pPr>
            <a:r>
              <a:rPr lang="sr-Latn-ME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</a:t>
            </a: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sr-Latn-ME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iska</a:t>
            </a: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Gora</a:t>
            </a:r>
          </a:p>
          <a:p>
            <a:pPr marL="342900" indent="-342900" algn="l">
              <a:buFont typeface="Wingdings" panose="05000000000000000000" pitchFamily="2" charset="2"/>
              <a:buChar char="v"/>
            </a:pP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 </a:t>
            </a:r>
            <a:r>
              <a:rPr lang="sr-Latn-ME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lje Brdo</a:t>
            </a:r>
          </a:p>
          <a:p>
            <a:pPr marL="342900" indent="-342900" algn="l">
              <a:buFont typeface="Wingdings" panose="05000000000000000000" pitchFamily="2" charset="2"/>
              <a:buChar char="v"/>
            </a:pP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 </a:t>
            </a:r>
            <a:r>
              <a:rPr lang="sr-Latn-ME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lusi</a:t>
            </a: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</a:t>
            </a:r>
          </a:p>
          <a:p>
            <a:pPr marL="342900" indent="-342900" algn="l">
              <a:buFont typeface="Wingdings" panose="05000000000000000000" pitchFamily="2" charset="2"/>
              <a:buChar char="v"/>
            </a:pP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 </a:t>
            </a:r>
            <a:r>
              <a:rPr lang="sr-Latn-ME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agalj</a:t>
            </a: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sr-Latn-ME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lusi</a:t>
            </a: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I</a:t>
            </a:r>
          </a:p>
          <a:p>
            <a:pPr marL="342900" indent="-342900" algn="l">
              <a:buFont typeface="Wingdings" panose="05000000000000000000" pitchFamily="2" charset="2"/>
              <a:buChar char="v"/>
            </a:pP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 </a:t>
            </a:r>
            <a:r>
              <a:rPr lang="sr-Latn-ME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Čevo</a:t>
            </a:r>
          </a:p>
          <a:p>
            <a:pPr marL="342900" indent="-342900" algn="l">
              <a:buFont typeface="Wingdings" panose="05000000000000000000" pitchFamily="2" charset="2"/>
              <a:buChar char="v"/>
            </a:pP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 </a:t>
            </a:r>
            <a:r>
              <a:rPr lang="sr-Latn-ME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ano</a:t>
            </a:r>
          </a:p>
          <a:p>
            <a:pPr marL="342900" indent="-342900" algn="l">
              <a:buFont typeface="Wingdings" panose="05000000000000000000" pitchFamily="2" charset="2"/>
              <a:buChar char="v"/>
            </a:pP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00+ </a:t>
            </a:r>
            <a:r>
              <a:rPr lang="sr-Latn-ME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en-US" sz="2400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500+</a:t>
            </a:r>
          </a:p>
          <a:p>
            <a:pPr algn="l"/>
            <a:endParaRPr lang="hr-HR" sz="2400" b="0" kern="0" dirty="0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2816" y="1645920"/>
            <a:ext cx="6025896" cy="42336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99217163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6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2586088" y="0"/>
            <a:ext cx="516255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S</a:t>
            </a:r>
            <a:r>
              <a:rPr lang="sr-Latn-ME" sz="2400" kern="0" dirty="0">
                <a:solidFill>
                  <a:schemeClr val="accent1">
                    <a:lumMod val="50000"/>
                  </a:schemeClr>
                </a:solidFill>
              </a:rPr>
              <a:t>E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400" kern="0" dirty="0" err="1">
                <a:solidFill>
                  <a:schemeClr val="accent1">
                    <a:lumMod val="50000"/>
                  </a:schemeClr>
                </a:solidFill>
              </a:rPr>
              <a:t>Briska</a:t>
            </a:r>
            <a:r>
              <a:rPr lang="en-US" sz="2400" kern="0" dirty="0">
                <a:solidFill>
                  <a:schemeClr val="accent1">
                    <a:lumMod val="50000"/>
                  </a:schemeClr>
                </a:solidFill>
              </a:rPr>
              <a:t> Gora</a:t>
            </a:r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half" idx="4294967295"/>
          </p:nvPr>
        </p:nvSpPr>
        <p:spPr>
          <a:xfrm>
            <a:off x="820737" y="3313883"/>
            <a:ext cx="8469567" cy="338785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342900" lvl="1" indent="-34290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sr-Latn-ME" sz="1600" dirty="0">
                <a:solidFill>
                  <a:schemeClr val="tx2"/>
                </a:solidFill>
              </a:rPr>
              <a:t>Planirana lokacija SE Briska Gora</a:t>
            </a:r>
            <a:r>
              <a:rPr lang="en-US" sz="1600" dirty="0">
                <a:solidFill>
                  <a:schemeClr val="tx2"/>
                </a:solidFill>
              </a:rPr>
              <a:t> – </a:t>
            </a:r>
            <a:r>
              <a:rPr lang="sr-Latn-ME" sz="1600" dirty="0">
                <a:solidFill>
                  <a:schemeClr val="tx2"/>
                </a:solidFill>
              </a:rPr>
              <a:t>Briska</a:t>
            </a:r>
            <a:r>
              <a:rPr lang="en-US" sz="1600" dirty="0">
                <a:solidFill>
                  <a:schemeClr val="tx2"/>
                </a:solidFill>
              </a:rPr>
              <a:t> Gora, </a:t>
            </a:r>
            <a:r>
              <a:rPr lang="sr-Latn-ME" sz="1600" dirty="0">
                <a:solidFill>
                  <a:schemeClr val="tx2"/>
                </a:solidFill>
              </a:rPr>
              <a:t>opština Ulcinj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endParaRPr lang="sr-Latn-ME" sz="1600" dirty="0">
              <a:solidFill>
                <a:schemeClr val="tx2"/>
              </a:solidFill>
            </a:endParaRPr>
          </a:p>
          <a:p>
            <a:pPr marL="2857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en-US" sz="1600" dirty="0">
              <a:solidFill>
                <a:schemeClr val="tx2"/>
              </a:solidFill>
            </a:endParaRPr>
          </a:p>
          <a:p>
            <a:pPr marL="2857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sr-Latn-ME" sz="1600" dirty="0">
                <a:solidFill>
                  <a:schemeClr val="tx2"/>
                </a:solidFill>
              </a:rPr>
              <a:t>Konzorcijum </a:t>
            </a:r>
            <a:r>
              <a:rPr lang="en-US" sz="1600" dirty="0">
                <a:solidFill>
                  <a:schemeClr val="tx2"/>
                </a:solidFill>
              </a:rPr>
              <a:t>EPCG, </a:t>
            </a:r>
            <a:r>
              <a:rPr lang="sr-Latn-ME" sz="1600" dirty="0">
                <a:solidFill>
                  <a:schemeClr val="tx2"/>
                </a:solidFill>
              </a:rPr>
              <a:t>Fortum</a:t>
            </a:r>
            <a:r>
              <a:rPr lang="en-US" sz="1600" dirty="0">
                <a:solidFill>
                  <a:schemeClr val="tx2"/>
                </a:solidFill>
              </a:rPr>
              <a:t> Corporation </a:t>
            </a:r>
            <a:r>
              <a:rPr lang="sr-Latn-ME" sz="1600" dirty="0">
                <a:solidFill>
                  <a:schemeClr val="tx2"/>
                </a:solidFill>
              </a:rPr>
              <a:t>Finska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sr-Latn-ME" sz="1600" dirty="0">
                <a:solidFill>
                  <a:schemeClr val="tx2"/>
                </a:solidFill>
              </a:rPr>
              <a:t>i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sr-Latn-ME" sz="1600" dirty="0">
                <a:solidFill>
                  <a:schemeClr val="tx2"/>
                </a:solidFill>
              </a:rPr>
              <a:t>Sterling&amp;Wilson Indija</a:t>
            </a:r>
            <a:endParaRPr lang="en-US" sz="1600" dirty="0">
              <a:solidFill>
                <a:schemeClr val="tx2"/>
              </a:solidFill>
            </a:endParaRPr>
          </a:p>
          <a:p>
            <a:pPr marL="2857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endParaRPr lang="en-US" sz="1600" dirty="0">
              <a:solidFill>
                <a:schemeClr val="tx2"/>
              </a:solidFill>
            </a:endParaRPr>
          </a:p>
          <a:p>
            <a:pPr marL="285750" lvl="1" indent="-285750">
              <a:buClr>
                <a:schemeClr val="tx2"/>
              </a:buClr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sr-Latn-ME" sz="1600" dirty="0">
                <a:solidFill>
                  <a:schemeClr val="tx2"/>
                </a:solidFill>
              </a:rPr>
              <a:t>Izgradnja elektrane po fazama</a:t>
            </a:r>
            <a:r>
              <a:rPr lang="en-US" sz="1600" dirty="0">
                <a:solidFill>
                  <a:schemeClr val="tx2"/>
                </a:solidFill>
              </a:rPr>
              <a:t>:</a:t>
            </a:r>
          </a:p>
          <a:p>
            <a:pPr marL="0" lvl="1" indent="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tx2"/>
              </a:solidFill>
            </a:endParaRPr>
          </a:p>
          <a:p>
            <a:pPr marL="285750" lvl="1" indent="-285750"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</a:pPr>
            <a:r>
              <a:rPr lang="pl-PL" sz="1600" i="1" dirty="0">
                <a:solidFill>
                  <a:schemeClr val="tx2"/>
                </a:solidFill>
              </a:rPr>
              <a:t>Faza I – 50 MW procijenjene godišnje proizvodnje 90 GWh (18 mjeseci)</a:t>
            </a:r>
            <a:endParaRPr lang="sr-Latn-ME" sz="1600" i="1" dirty="0">
              <a:solidFill>
                <a:schemeClr val="tx2"/>
              </a:solidFill>
            </a:endParaRPr>
          </a:p>
          <a:p>
            <a:pPr marL="285750" lvl="1" indent="-285750">
              <a:buClr>
                <a:schemeClr val="tx2"/>
              </a:buClr>
              <a:buSzPct val="110000"/>
              <a:buFont typeface="Wingdings" panose="05000000000000000000" pitchFamily="2" charset="2"/>
              <a:buChar char="§"/>
            </a:pPr>
            <a:r>
              <a:rPr lang="pl-PL" sz="1600" i="1" dirty="0">
                <a:solidFill>
                  <a:schemeClr val="tx2"/>
                </a:solidFill>
              </a:rPr>
              <a:t>Faza II – 200 MW procijenjene godišnje proizvodnje 360 GWh </a:t>
            </a:r>
            <a:r>
              <a:rPr lang="sr-Latn-ME" sz="1600" i="1" dirty="0">
                <a:solidFill>
                  <a:schemeClr val="tx2"/>
                </a:solidFill>
              </a:rPr>
              <a:t>(36 mjeseci)</a:t>
            </a:r>
          </a:p>
          <a:p>
            <a:pPr marL="0" lvl="1" indent="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en-US" sz="1600" i="1" dirty="0">
              <a:solidFill>
                <a:schemeClr val="tx2"/>
              </a:solidFill>
            </a:endParaRPr>
          </a:p>
          <a:p>
            <a:pPr marL="285750" lvl="1" indent="-285750">
              <a:buClr>
                <a:schemeClr val="tx2"/>
              </a:buClr>
              <a:buSzPct val="110000"/>
              <a:buFont typeface="Wingdings" panose="05000000000000000000" pitchFamily="2" charset="2"/>
              <a:buChar char="q"/>
            </a:pP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sr-Latn-ME" sz="1600" dirty="0">
                <a:solidFill>
                  <a:schemeClr val="tx2"/>
                </a:solidFill>
              </a:rPr>
              <a:t>Vrijednost ukupne investicije cca. €2</a:t>
            </a:r>
            <a:r>
              <a:rPr lang="en-US" sz="1600" dirty="0">
                <a:solidFill>
                  <a:schemeClr val="tx2"/>
                </a:solidFill>
              </a:rPr>
              <a:t>1</a:t>
            </a:r>
            <a:r>
              <a:rPr lang="sr-Latn-ME" sz="1600" dirty="0">
                <a:solidFill>
                  <a:schemeClr val="tx2"/>
                </a:solidFill>
              </a:rPr>
              <a:t>0M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003" y="629935"/>
            <a:ext cx="4163301" cy="2683948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0737" y="625033"/>
            <a:ext cx="4306266" cy="2688850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1"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31889100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7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968961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>
              <a:solidFill>
                <a:srgbClr val="000000"/>
              </a:solidFill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gray">
          <a:xfrm>
            <a:off x="2118279" y="216970"/>
            <a:ext cx="5878712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sz="2400" kern="0" dirty="0">
                <a:solidFill>
                  <a:srgbClr val="99CCFF">
                    <a:lumMod val="50000"/>
                  </a:srgbClr>
                </a:solidFill>
              </a:rPr>
              <a:t>SE Velje Brdo</a:t>
            </a:r>
            <a:endParaRPr lang="it-IT" sz="2400" kern="0" dirty="0">
              <a:solidFill>
                <a:srgbClr val="99CCFF">
                  <a:lumMod val="50000"/>
                </a:srgbClr>
              </a:solidFill>
            </a:endParaRPr>
          </a:p>
        </p:txBody>
      </p:sp>
      <p:sp>
        <p:nvSpPr>
          <p:cNvPr id="10" name="Content Placeholder 6"/>
          <p:cNvSpPr>
            <a:spLocks noGrp="1"/>
          </p:cNvSpPr>
          <p:nvPr>
            <p:ph sz="half" idx="4294967295"/>
          </p:nvPr>
        </p:nvSpPr>
        <p:spPr>
          <a:xfrm>
            <a:off x="680811" y="886895"/>
            <a:ext cx="9342162" cy="26087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buFont typeface="Wingdings" panose="05000000000000000000" pitchFamily="2" charset="2"/>
              <a:buChar char="v"/>
            </a:pPr>
            <a:endParaRPr lang="sr-Latn-ME" sz="2000" dirty="0"/>
          </a:p>
          <a:p>
            <a:pPr algn="just">
              <a:buFont typeface="Wingdings" panose="05000000000000000000" pitchFamily="2" charset="2"/>
              <a:buChar char="v"/>
            </a:pPr>
            <a:endParaRPr lang="sr-Latn-ME" sz="2000" dirty="0">
              <a:solidFill>
                <a:schemeClr val="tx2"/>
              </a:solidFill>
            </a:endParaRPr>
          </a:p>
          <a:p>
            <a:pPr algn="just">
              <a:buFont typeface="Wingdings" panose="05000000000000000000" pitchFamily="2" charset="2"/>
              <a:buChar char="v"/>
            </a:pPr>
            <a:r>
              <a:rPr lang="sr-Latn-ME" sz="2000" dirty="0">
                <a:solidFill>
                  <a:schemeClr val="tx2"/>
                </a:solidFill>
              </a:rPr>
              <a:t>Lokalna studija lokacije "Velje Brdo</a:t>
            </a:r>
            <a:r>
              <a:rPr lang="en-GB" sz="2000" dirty="0">
                <a:solidFill>
                  <a:schemeClr val="tx2"/>
                </a:solidFill>
              </a:rPr>
              <a:t> </a:t>
            </a:r>
            <a:r>
              <a:rPr lang="sr-Latn-ME" sz="2000" dirty="0">
                <a:solidFill>
                  <a:schemeClr val="tx2"/>
                </a:solidFill>
              </a:rPr>
              <a:t>-</a:t>
            </a:r>
            <a:r>
              <a:rPr lang="en-GB" sz="2000" dirty="0">
                <a:solidFill>
                  <a:schemeClr val="tx2"/>
                </a:solidFill>
              </a:rPr>
              <a:t> </a:t>
            </a:r>
            <a:r>
              <a:rPr lang="sr-Latn-ME" sz="2000" dirty="0">
                <a:solidFill>
                  <a:schemeClr val="tx2"/>
                </a:solidFill>
              </a:rPr>
              <a:t>solarna elektrana" Podgorica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sr-Latn-ME" sz="2000" i="1" dirty="0">
                <a:solidFill>
                  <a:schemeClr val="tx2"/>
                </a:solidFill>
              </a:rPr>
              <a:t>Ukupna instalisana snaga solarne elektrane:</a:t>
            </a:r>
            <a:endParaRPr lang="en-GB" sz="2000" i="1" dirty="0">
              <a:solidFill>
                <a:schemeClr val="tx2"/>
              </a:solidFill>
            </a:endParaRPr>
          </a:p>
          <a:p>
            <a:pPr marL="481012" lvl="1" indent="0">
              <a:buNone/>
            </a:pPr>
            <a:r>
              <a:rPr lang="en-GB" sz="1600" i="1" dirty="0">
                <a:solidFill>
                  <a:schemeClr val="tx2"/>
                </a:solidFill>
              </a:rPr>
              <a:t>F</a:t>
            </a:r>
            <a:r>
              <a:rPr lang="sr-Latn-ME" sz="1600" i="1" dirty="0">
                <a:solidFill>
                  <a:schemeClr val="tx2"/>
                </a:solidFill>
              </a:rPr>
              <a:t>aza I – 50MW</a:t>
            </a:r>
            <a:br>
              <a:rPr lang="sr-Latn-ME" sz="1600" i="1" dirty="0">
                <a:solidFill>
                  <a:schemeClr val="tx2"/>
                </a:solidFill>
              </a:rPr>
            </a:br>
            <a:r>
              <a:rPr lang="en-GB" sz="1600" i="1" dirty="0">
                <a:solidFill>
                  <a:schemeClr val="tx2"/>
                </a:solidFill>
              </a:rPr>
              <a:t>F</a:t>
            </a:r>
            <a:r>
              <a:rPr lang="sr-Latn-ME" sz="1600" i="1" dirty="0">
                <a:solidFill>
                  <a:schemeClr val="tx2"/>
                </a:solidFill>
              </a:rPr>
              <a:t>aza II – 100MW</a:t>
            </a:r>
            <a:endParaRPr lang="en-US" sz="1600" i="1" dirty="0">
              <a:solidFill>
                <a:schemeClr val="tx2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2000" i="1" dirty="0" err="1">
                <a:solidFill>
                  <a:schemeClr val="tx2"/>
                </a:solidFill>
              </a:rPr>
              <a:t>Komisija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za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pokretanje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aktivnosti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izgradnje</a:t>
            </a:r>
            <a:r>
              <a:rPr lang="en-US" sz="2000" i="1" dirty="0">
                <a:solidFill>
                  <a:schemeClr val="tx2"/>
                </a:solidFill>
              </a:rPr>
              <a:t> SE </a:t>
            </a:r>
            <a:r>
              <a:rPr lang="en-US" sz="2000" i="1" dirty="0" err="1">
                <a:solidFill>
                  <a:schemeClr val="tx2"/>
                </a:solidFill>
              </a:rPr>
              <a:t>na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lokalitetu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Velje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brdo</a:t>
            </a:r>
            <a:r>
              <a:rPr lang="en-US" sz="2000" i="1" dirty="0">
                <a:solidFill>
                  <a:schemeClr val="tx2"/>
                </a:solidFill>
              </a:rPr>
              <a:t>- </a:t>
            </a:r>
            <a:r>
              <a:rPr lang="en-US" sz="2000" i="1" dirty="0" err="1">
                <a:solidFill>
                  <a:schemeClr val="tx2"/>
                </a:solidFill>
              </a:rPr>
              <a:t>priprema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tenderske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dokumentacije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za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davanje</a:t>
            </a:r>
            <a:r>
              <a:rPr lang="en-US" sz="2000" i="1" dirty="0">
                <a:solidFill>
                  <a:schemeClr val="tx2"/>
                </a:solidFill>
              </a:rPr>
              <a:t> u </a:t>
            </a:r>
            <a:r>
              <a:rPr lang="en-US" sz="2000" i="1" dirty="0" err="1">
                <a:solidFill>
                  <a:schemeClr val="tx2"/>
                </a:solidFill>
              </a:rPr>
              <a:t>dugoročni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zakup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zemljišta</a:t>
            </a:r>
            <a:r>
              <a:rPr lang="en-US" sz="2000" i="1" dirty="0">
                <a:solidFill>
                  <a:schemeClr val="tx2"/>
                </a:solidFill>
              </a:rPr>
              <a:t> u </a:t>
            </a:r>
            <a:r>
              <a:rPr lang="en-US" sz="2000" i="1" dirty="0" err="1">
                <a:solidFill>
                  <a:schemeClr val="tx2"/>
                </a:solidFill>
              </a:rPr>
              <a:t>državnoj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i="1" dirty="0" err="1">
                <a:solidFill>
                  <a:schemeClr val="tx2"/>
                </a:solidFill>
              </a:rPr>
              <a:t>svojini</a:t>
            </a:r>
            <a:br>
              <a:rPr lang="sr-Latn-ME" sz="2000" i="1" dirty="0"/>
            </a:br>
            <a:r>
              <a:rPr lang="sr-Latn-ME" sz="2000" i="1" dirty="0"/>
              <a:t> </a:t>
            </a:r>
            <a:endParaRPr lang="en-US" dirty="0"/>
          </a:p>
          <a:p>
            <a:pPr marL="0" indent="0" algn="just">
              <a:buNone/>
            </a:pPr>
            <a:endParaRPr lang="sr-Latn-ME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0228" y="3413905"/>
            <a:ext cx="9086126" cy="3287838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extrusionH="76200" contourW="44450" prstMaterial="matte">
            <a:bevelT w="63500" h="63500" prst="artDeco"/>
            <a:extrusionClr>
              <a:schemeClr val="accent5"/>
            </a:extrusionClr>
            <a:contourClr>
              <a:schemeClr val="accent5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89601247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8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1661549" y="488269"/>
            <a:ext cx="6758838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sz="2400" kern="0" dirty="0">
                <a:solidFill>
                  <a:srgbClr val="99CCFF">
                    <a:lumMod val="50000"/>
                  </a:srgbClr>
                </a:solidFill>
              </a:rPr>
              <a:t>Određivanje lokacija za solarne elektrane</a:t>
            </a:r>
            <a:endParaRPr lang="en-GB" sz="2400" kern="0" dirty="0">
              <a:solidFill>
                <a:srgbClr val="99CCFF">
                  <a:lumMod val="50000"/>
                </a:srgbClr>
              </a:solidFill>
            </a:endParaRPr>
          </a:p>
          <a:p>
            <a:pPr eaLnBrk="1" hangingPunct="1"/>
            <a:endParaRPr lang="it-IT" sz="2400" kern="0" dirty="0">
              <a:solidFill>
                <a:srgbClr val="99CCFF">
                  <a:lumMod val="50000"/>
                </a:srgbClr>
              </a:solidFill>
            </a:endParaRPr>
          </a:p>
        </p:txBody>
      </p:sp>
      <p:sp>
        <p:nvSpPr>
          <p:cNvPr id="6" name="Content Placeholder 6"/>
          <p:cNvSpPr>
            <a:spLocks noGrp="1"/>
          </p:cNvSpPr>
          <p:nvPr>
            <p:ph sz="half" idx="4294967295"/>
          </p:nvPr>
        </p:nvSpPr>
        <p:spPr>
          <a:xfrm>
            <a:off x="909622" y="1158194"/>
            <a:ext cx="8435301" cy="383608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0" indent="0" algn="just">
              <a:buNone/>
            </a:pPr>
            <a:endParaRPr lang="en-US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sr-Latn-ME" sz="2000" dirty="0">
                <a:solidFill>
                  <a:schemeClr val="tx2"/>
                </a:solidFill>
              </a:rPr>
              <a:t>Glavni cilj - analiza teritorije opštine Nikšić, Podgorica i Cetinje i određivanje potencijalnih lokacija za razvoj proizvodnje električne energije iz fotonaponskih solarnih sistema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sr-Latn-ME" sz="2000" dirty="0">
                <a:solidFill>
                  <a:schemeClr val="tx2"/>
                </a:solidFill>
              </a:rPr>
              <a:t>Kriterijumi:</a:t>
            </a:r>
          </a:p>
          <a:p>
            <a:pPr lvl="0" algn="just"/>
            <a:r>
              <a:rPr lang="sr-Latn-ME" sz="1400" dirty="0">
                <a:solidFill>
                  <a:schemeClr val="tx2"/>
                </a:solidFill>
              </a:rPr>
              <a:t>fizički (orijentacija, kategorija tla, rekonstrukcija pristupnog puta ili izgradnja novog puta, i dr.)</a:t>
            </a:r>
            <a:endParaRPr lang="en-US" sz="1400" dirty="0">
              <a:solidFill>
                <a:schemeClr val="tx2"/>
              </a:solidFill>
            </a:endParaRPr>
          </a:p>
          <a:p>
            <a:pPr lvl="0" algn="just"/>
            <a:r>
              <a:rPr lang="sr-Latn-ME" sz="1400" dirty="0">
                <a:solidFill>
                  <a:schemeClr val="tx2"/>
                </a:solidFill>
              </a:rPr>
              <a:t>socijalni (vlasništvo nad lokacijom, vidljivost i dostupnost u cilju promocije korišćenja obnovljivih izvora energije i dr.)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ME" sz="2400" dirty="0">
                <a:solidFill>
                  <a:schemeClr val="tx2"/>
                </a:solidFill>
              </a:rPr>
              <a:t> </a:t>
            </a:r>
            <a:r>
              <a:rPr lang="sr-Latn-ME" sz="2000" dirty="0">
                <a:solidFill>
                  <a:schemeClr val="tx2"/>
                </a:solidFill>
              </a:rPr>
              <a:t>SE Vilusi I </a:t>
            </a:r>
            <a:r>
              <a:rPr lang="sr-Latn-ME" sz="2000" i="1" dirty="0">
                <a:solidFill>
                  <a:schemeClr val="tx2"/>
                </a:solidFill>
              </a:rPr>
              <a:t> </a:t>
            </a:r>
            <a:r>
              <a:rPr lang="sr-Latn-ME" sz="2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 MW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ME" sz="2400" dirty="0">
                <a:solidFill>
                  <a:schemeClr val="tx2"/>
                </a:solidFill>
              </a:rPr>
              <a:t> </a:t>
            </a:r>
            <a:r>
              <a:rPr lang="sr-Latn-ME" sz="2000" dirty="0">
                <a:solidFill>
                  <a:schemeClr val="tx2"/>
                </a:solidFill>
              </a:rPr>
              <a:t>SE Dragalj/Vilusi II </a:t>
            </a:r>
            <a:r>
              <a:rPr lang="sr-Latn-ME" sz="20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0 MW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ME" sz="2400" dirty="0">
                <a:solidFill>
                  <a:schemeClr val="tx2"/>
                </a:solidFill>
              </a:rPr>
              <a:t> </a:t>
            </a:r>
            <a:r>
              <a:rPr lang="sr-Latn-ME" sz="2000" dirty="0">
                <a:solidFill>
                  <a:schemeClr val="tx2"/>
                </a:solidFill>
              </a:rPr>
              <a:t>SE Čevo </a:t>
            </a:r>
            <a:r>
              <a:rPr lang="sr-Latn-ME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0 MW</a:t>
            </a:r>
            <a:endParaRPr lang="en-US" sz="24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sr-Latn-ME" dirty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2187916" y="4994274"/>
            <a:ext cx="5878712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en-GB" sz="2400" kern="0" dirty="0">
              <a:solidFill>
                <a:srgbClr val="99CCFF">
                  <a:lumMod val="50000"/>
                </a:srgbClr>
              </a:solidFill>
            </a:endParaRPr>
          </a:p>
          <a:p>
            <a:pPr eaLnBrk="1" hangingPunct="1"/>
            <a:r>
              <a:rPr lang="sr-Latn-ME" sz="2400" kern="0" dirty="0">
                <a:solidFill>
                  <a:schemeClr val="bg2"/>
                </a:solidFill>
              </a:rPr>
              <a:t>SE Slano – </a:t>
            </a:r>
            <a:r>
              <a:rPr lang="en-GB" sz="2400" kern="0" dirty="0" err="1">
                <a:solidFill>
                  <a:schemeClr val="bg2"/>
                </a:solidFill>
              </a:rPr>
              <a:t>plutajući</a:t>
            </a:r>
            <a:r>
              <a:rPr lang="sr-Latn-ME" sz="2400" kern="0" dirty="0">
                <a:solidFill>
                  <a:schemeClr val="bg2"/>
                </a:solidFill>
              </a:rPr>
              <a:t> solar</a:t>
            </a:r>
            <a:endParaRPr lang="en-GB" sz="2400" kern="0" dirty="0">
              <a:solidFill>
                <a:schemeClr val="bg2"/>
              </a:solidFill>
            </a:endParaRPr>
          </a:p>
          <a:p>
            <a:pPr eaLnBrk="1" hangingPunct="1"/>
            <a:endParaRPr lang="it-IT" sz="2400" kern="0" dirty="0">
              <a:solidFill>
                <a:srgbClr val="99CCFF">
                  <a:lumMod val="50000"/>
                </a:srgbClr>
              </a:solidFill>
            </a:endParaRPr>
          </a:p>
        </p:txBody>
      </p:sp>
      <p:sp>
        <p:nvSpPr>
          <p:cNvPr id="9" name="Content Placeholder 6"/>
          <p:cNvSpPr>
            <a:spLocks noGrp="1"/>
          </p:cNvSpPr>
          <p:nvPr>
            <p:ph sz="half" idx="4294967295"/>
          </p:nvPr>
        </p:nvSpPr>
        <p:spPr>
          <a:xfrm>
            <a:off x="1098971" y="5664199"/>
            <a:ext cx="8245952" cy="1060704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buFont typeface="Wingdings" panose="05000000000000000000" pitchFamily="2" charset="2"/>
              <a:buChar char="v"/>
            </a:pPr>
            <a:endParaRPr lang="sr-Latn-ME" sz="2000" dirty="0"/>
          </a:p>
          <a:p>
            <a:pPr algn="just">
              <a:buFont typeface="Wingdings" panose="05000000000000000000" pitchFamily="2" charset="2"/>
              <a:buChar char="v"/>
            </a:pPr>
            <a:endParaRPr lang="sr-Latn-ME" sz="2000" dirty="0"/>
          </a:p>
          <a:p>
            <a:pPr algn="just">
              <a:buFont typeface="Wingdings" panose="05000000000000000000" pitchFamily="2" charset="2"/>
              <a:buChar char="v"/>
            </a:pPr>
            <a:r>
              <a:rPr lang="sr-Latn-ME" sz="2000" dirty="0"/>
              <a:t>Više </a:t>
            </a:r>
            <a:r>
              <a:rPr lang="en-US" sz="2000" dirty="0"/>
              <a:t>me</a:t>
            </a:r>
            <a:r>
              <a:rPr lang="sr-Latn-ME" sz="2000" dirty="0"/>
              <a:t>đunarodnih kompanija pokazalo interesovanje</a:t>
            </a:r>
          </a:p>
          <a:p>
            <a:pPr algn="just">
              <a:buFont typeface="Wingdings" panose="05000000000000000000" pitchFamily="2" charset="2"/>
              <a:buChar char="v"/>
            </a:pPr>
            <a:r>
              <a:rPr lang="sr-Latn-ME" sz="2000" dirty="0"/>
              <a:t>Do 33,6 MW + mala SE na brani cca. 5 MW-7 MW</a:t>
            </a:r>
          </a:p>
          <a:p>
            <a:pPr algn="just">
              <a:buFont typeface="Wingdings" panose="05000000000000000000" pitchFamily="2" charset="2"/>
              <a:buChar char="v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sr-Latn-M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73364406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29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2" name="Rectangle 1"/>
          <p:cNvSpPr/>
          <p:nvPr/>
        </p:nvSpPr>
        <p:spPr>
          <a:xfrm>
            <a:off x="604203" y="473632"/>
            <a:ext cx="4563159" cy="646331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r>
              <a:rPr lang="pl-PL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Inicijativa za regione uglja u tranziciji na Zapadnom Balkanu i u Ukrajini</a:t>
            </a:r>
            <a:endParaRPr lang="en-US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4204" y="1448717"/>
            <a:ext cx="4563159" cy="4770537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just"/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nicijativ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z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region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uglj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u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tranzicij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n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Zapadnom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Balkanu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u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Ukrajin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pokrenut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je u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decembru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2020.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godin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m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z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cilj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da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pomogn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zemljam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regionim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da se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odmaknu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od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uglj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k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ekonomij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neutralnoj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prem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ugljeniku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,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stovremeno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osiguravajuć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da je ova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tranzicij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pravedn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.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Pružić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podršku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regionim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uglj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u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susjednim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zemljam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EU -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Bosn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Hercegovin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,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Kosovu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*,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Crnoj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Gori,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Sjevernoj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Makedonij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,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Srbij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Ukrajin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.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Njim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upravlj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Evropsk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komisij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6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međunarodnih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partner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: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Svjetsk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bank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(WB),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Sekretarijat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Energetsk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zajednic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,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Evropsk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bank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z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obnovu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razvoj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(EBRD),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Evropsk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nvesticion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bank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(EIB),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Poljsk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nacionaln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fond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z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zaštitu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životn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sredin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upravljanje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vodama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Evropski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koledž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 u </a:t>
            </a:r>
            <a:r>
              <a:rPr lang="en-US" sz="1600" b="0" dirty="0" err="1">
                <a:solidFill>
                  <a:schemeClr val="accent1">
                    <a:lumMod val="25000"/>
                  </a:schemeClr>
                </a:solidFill>
                <a:latin typeface="+mn-lt"/>
              </a:rPr>
              <a:t>Natolinu</a:t>
            </a:r>
            <a:r>
              <a:rPr lang="en-US" sz="1600" b="0" dirty="0">
                <a:solidFill>
                  <a:schemeClr val="accent1">
                    <a:lumMod val="25000"/>
                  </a:schemeClr>
                </a:solidFill>
                <a:latin typeface="+mn-lt"/>
              </a:rPr>
              <a:t>.</a:t>
            </a:r>
            <a:endParaRPr lang="en-US" sz="1600" b="0" i="0" dirty="0">
              <a:solidFill>
                <a:schemeClr val="accent1">
                  <a:lumMod val="25000"/>
                </a:schemeClr>
              </a:solidFill>
              <a:effectLst/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2560" y="473632"/>
            <a:ext cx="4943856" cy="5745622"/>
          </a:xfrm>
          <a:prstGeom prst="rect">
            <a:avLst/>
          </a:prstGeom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67042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3</a:t>
            </a:fld>
            <a:endParaRPr lang="it-IT" sz="1000" b="0">
              <a:solidFill>
                <a:srgbClr val="0070C0"/>
              </a:solidFill>
            </a:endParaRPr>
          </a:p>
        </p:txBody>
      </p:sp>
      <p:pic>
        <p:nvPicPr>
          <p:cNvPr id="2" name="0-02-04-29f64481506286460284694407fedcbda917de3d2155c1e9626c6b93c3195a8c_50e34d8d0af3c2ef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80810" y="512699"/>
            <a:ext cx="8993541" cy="6208141"/>
          </a:xfrm>
          <a:prstGeom prst="rect">
            <a:avLst/>
          </a:prstGeom>
          <a:ln>
            <a:noFill/>
          </a:ln>
          <a:effectLst>
            <a:glow rad="228600">
              <a:srgbClr val="FFFFFF">
                <a:alpha val="40000"/>
              </a:srgbClr>
            </a:glow>
          </a:effectLst>
          <a:scene3d>
            <a:camera prst="orthographicFront"/>
            <a:lightRig rig="threePt" dir="t">
              <a:rot lat="0" lon="0" rev="2100000"/>
            </a:lightRig>
          </a:scene3d>
          <a:sp3d>
            <a:bevelT w="152400" h="101600" prst="slope"/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161186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372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30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5342350" y="566927"/>
            <a:ext cx="4853210" cy="57826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US" sz="2400" dirty="0"/>
          </a:p>
          <a:p>
            <a:r>
              <a:rPr lang="sr-Latn-ME" sz="2400" dirty="0"/>
              <a:t>Regioni u fokusu</a:t>
            </a:r>
            <a:endParaRPr lang="en-US" sz="2400" dirty="0"/>
          </a:p>
          <a:p>
            <a:pPr eaLnBrk="1" hangingPunct="1"/>
            <a:endParaRPr lang="it-IT" sz="2400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588" y="669925"/>
            <a:ext cx="4785775" cy="538780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>
            <a:glow rad="139700">
              <a:schemeClr val="accent2">
                <a:satMod val="175000"/>
                <a:alpha val="40000"/>
              </a:schemeClr>
            </a:glo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2350" y="1243584"/>
            <a:ext cx="4853210" cy="4814148"/>
          </a:xfrm>
          <a:prstGeom prst="rect">
            <a:avLst/>
          </a:prstGeom>
          <a:effectLst>
            <a:glow rad="139700">
              <a:schemeClr val="accent2">
                <a:satMod val="175000"/>
                <a:alpha val="40000"/>
              </a:schemeClr>
            </a:glo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23786364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31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A6AF8F3-C448-FD4A-BC30-FD8023BCB60C}"/>
              </a:ext>
            </a:extLst>
          </p:cNvPr>
          <p:cNvSpPr txBox="1">
            <a:spLocks/>
          </p:cNvSpPr>
          <p:nvPr/>
        </p:nvSpPr>
        <p:spPr>
          <a:xfrm>
            <a:off x="969264" y="6022139"/>
            <a:ext cx="8330184" cy="807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>
            <a:normAutofit fontScale="25000" lnSpcReduction="20000"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US" sz="7200" b="0" dirty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7200" dirty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p: Current coal phase-out committed countries</a:t>
            </a:r>
          </a:p>
          <a:p>
            <a:br>
              <a:rPr lang="hr-HR" sz="3200" kern="0" dirty="0"/>
            </a:br>
            <a:endParaRPr lang="hr-HR" sz="3200" kern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264" y="224825"/>
            <a:ext cx="8330184" cy="5797314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68840311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32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A6AF8F3-C448-FD4A-BC30-FD8023BCB60C}"/>
              </a:ext>
            </a:extLst>
          </p:cNvPr>
          <p:cNvSpPr txBox="1">
            <a:spLocks/>
          </p:cNvSpPr>
          <p:nvPr/>
        </p:nvSpPr>
        <p:spPr>
          <a:xfrm>
            <a:off x="235808" y="1062580"/>
            <a:ext cx="3129184" cy="569975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>
            <a:normAutofit fontScale="25000" lnSpcReduction="20000"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US" sz="3200" b="0" dirty="0"/>
          </a:p>
          <a:p>
            <a:r>
              <a:rPr lang="en-US" sz="8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 </a:t>
            </a:r>
            <a:r>
              <a:rPr lang="en-US" sz="8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kusu</a:t>
            </a:r>
            <a:r>
              <a:rPr lang="sr-Latn-ME" sz="8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- NECP</a:t>
            </a:r>
            <a:endParaRPr lang="en-US" sz="8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br>
              <a:rPr lang="hr-HR" sz="3200" kern="0" dirty="0"/>
            </a:br>
            <a:endParaRPr lang="hr-HR" sz="3200" kern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08" y="1890229"/>
            <a:ext cx="3135841" cy="3376481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5" name="Content Placeholder 6"/>
          <p:cNvSpPr>
            <a:spLocks noGrp="1"/>
          </p:cNvSpPr>
          <p:nvPr>
            <p:ph sz="half" idx="4294967295"/>
          </p:nvPr>
        </p:nvSpPr>
        <p:spPr>
          <a:xfrm>
            <a:off x="3371648" y="1890230"/>
            <a:ext cx="6741615" cy="3376481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0" indent="0" algn="just">
              <a:buNone/>
            </a:pPr>
            <a:endParaRPr lang="en-US" dirty="0">
              <a:solidFill>
                <a:schemeClr val="bg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en-US" dirty="0">
              <a:solidFill>
                <a:schemeClr val="bg2"/>
              </a:solidFill>
            </a:endParaRPr>
          </a:p>
          <a:p>
            <a:pPr marL="285750" indent="-285750" algn="ctr">
              <a:buFont typeface="Wingdings" panose="05000000000000000000" pitchFamily="2" charset="2"/>
              <a:buChar char="q"/>
            </a:pPr>
            <a:endParaRPr lang="en-US" sz="3200" dirty="0">
              <a:solidFill>
                <a:schemeClr val="bg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400" dirty="0" err="1">
                <a:solidFill>
                  <a:schemeClr val="bg2"/>
                </a:solidFill>
              </a:rPr>
              <a:t>Kako</a:t>
            </a:r>
            <a:r>
              <a:rPr lang="en-US" sz="1400" dirty="0">
                <a:solidFill>
                  <a:schemeClr val="bg2"/>
                </a:solidFill>
              </a:rPr>
              <a:t> bi </a:t>
            </a:r>
            <a:r>
              <a:rPr lang="en-US" sz="1400" dirty="0" err="1">
                <a:solidFill>
                  <a:schemeClr val="bg2"/>
                </a:solidFill>
              </a:rPr>
              <a:t>ispunil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energetsk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i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klimatsk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ciljeve</a:t>
            </a:r>
            <a:r>
              <a:rPr lang="en-US" sz="1400" dirty="0">
                <a:solidFill>
                  <a:schemeClr val="bg2"/>
                </a:solidFill>
              </a:rPr>
              <a:t> EU-a </a:t>
            </a:r>
            <a:r>
              <a:rPr lang="en-US" sz="1400" dirty="0" err="1">
                <a:solidFill>
                  <a:schemeClr val="bg2"/>
                </a:solidFill>
              </a:rPr>
              <a:t>za</a:t>
            </a:r>
            <a:r>
              <a:rPr lang="en-US" sz="1400" dirty="0">
                <a:solidFill>
                  <a:schemeClr val="bg2"/>
                </a:solidFill>
              </a:rPr>
              <a:t> 2030., </a:t>
            </a:r>
            <a:r>
              <a:rPr lang="en-US" sz="1400" dirty="0" err="1">
                <a:solidFill>
                  <a:schemeClr val="bg2"/>
                </a:solidFill>
              </a:rPr>
              <a:t>držav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članice</a:t>
            </a:r>
            <a:r>
              <a:rPr lang="en-US" sz="1400" dirty="0">
                <a:solidFill>
                  <a:schemeClr val="bg2"/>
                </a:solidFill>
              </a:rPr>
              <a:t> EU-a </a:t>
            </a:r>
            <a:r>
              <a:rPr lang="en-US" sz="1400" dirty="0" err="1">
                <a:solidFill>
                  <a:schemeClr val="bg2"/>
                </a:solidFill>
              </a:rPr>
              <a:t>moraju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izraditi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desetogodišnj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nacionaln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energetsk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i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klimatsk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planove</a:t>
            </a:r>
            <a:r>
              <a:rPr lang="en-US" sz="1400" dirty="0">
                <a:solidFill>
                  <a:schemeClr val="bg2"/>
                </a:solidFill>
              </a:rPr>
              <a:t> (NECP) </a:t>
            </a:r>
            <a:r>
              <a:rPr lang="en-US" sz="1400" dirty="0" err="1">
                <a:solidFill>
                  <a:schemeClr val="bg2"/>
                </a:solidFill>
              </a:rPr>
              <a:t>za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razdoblje</a:t>
            </a:r>
            <a:r>
              <a:rPr lang="en-US" sz="1400" dirty="0">
                <a:solidFill>
                  <a:schemeClr val="bg2"/>
                </a:solidFill>
              </a:rPr>
              <a:t> od 2021. do 2030</a:t>
            </a:r>
            <a:r>
              <a:rPr lang="sr-Latn-ME" sz="1400" dirty="0">
                <a:solidFill>
                  <a:schemeClr val="bg2"/>
                </a:solidFill>
              </a:rPr>
              <a:t>.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endParaRPr lang="sr-Latn-ME" sz="1400" dirty="0">
              <a:solidFill>
                <a:schemeClr val="bg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bg2"/>
                </a:solidFill>
              </a:rPr>
              <a:t>U </a:t>
            </a:r>
            <a:r>
              <a:rPr lang="en-US" sz="1400" dirty="0" err="1">
                <a:solidFill>
                  <a:schemeClr val="bg2"/>
                </a:solidFill>
              </a:rPr>
              <a:t>nacionalnim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planovima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navodi</a:t>
            </a:r>
            <a:r>
              <a:rPr lang="en-US" sz="1400" dirty="0">
                <a:solidFill>
                  <a:schemeClr val="bg2"/>
                </a:solidFill>
              </a:rPr>
              <a:t> se </a:t>
            </a:r>
            <a:r>
              <a:rPr lang="en-US" sz="1400" dirty="0" err="1">
                <a:solidFill>
                  <a:schemeClr val="bg2"/>
                </a:solidFill>
              </a:rPr>
              <a:t>na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koji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način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držav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članice</a:t>
            </a:r>
            <a:r>
              <a:rPr lang="en-US" sz="1400" dirty="0">
                <a:solidFill>
                  <a:schemeClr val="bg2"/>
                </a:solidFill>
              </a:rPr>
              <a:t> EU-a </a:t>
            </a:r>
            <a:r>
              <a:rPr lang="en-US" sz="1400" dirty="0" err="1">
                <a:solidFill>
                  <a:schemeClr val="bg2"/>
                </a:solidFill>
              </a:rPr>
              <a:t>namjeravaju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pristupati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pitanjima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povezanima</a:t>
            </a:r>
            <a:r>
              <a:rPr lang="en-US" sz="1400" dirty="0">
                <a:solidFill>
                  <a:schemeClr val="bg2"/>
                </a:solidFill>
              </a:rPr>
              <a:t> s pet </a:t>
            </a:r>
            <a:r>
              <a:rPr lang="en-US" sz="1400" dirty="0" err="1">
                <a:solidFill>
                  <a:schemeClr val="bg2"/>
                </a:solidFill>
              </a:rPr>
              <a:t>sledećih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područja</a:t>
            </a:r>
            <a:r>
              <a:rPr lang="en-US" sz="1400" dirty="0">
                <a:solidFill>
                  <a:schemeClr val="bg2"/>
                </a:solidFill>
              </a:rPr>
              <a:t>: </a:t>
            </a:r>
            <a:r>
              <a:rPr lang="en-US" sz="1400" dirty="0" err="1">
                <a:solidFill>
                  <a:schemeClr val="bg2"/>
                </a:solidFill>
              </a:rPr>
              <a:t>energetskom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efikasno</a:t>
            </a:r>
            <a:r>
              <a:rPr lang="sr-Latn-ME" sz="1400" dirty="0">
                <a:solidFill>
                  <a:schemeClr val="bg2"/>
                </a:solidFill>
              </a:rPr>
              <a:t>šću</a:t>
            </a:r>
            <a:r>
              <a:rPr lang="en-US" sz="1400" dirty="0">
                <a:solidFill>
                  <a:schemeClr val="bg2"/>
                </a:solidFill>
              </a:rPr>
              <a:t>, </a:t>
            </a:r>
            <a:r>
              <a:rPr lang="en-US" sz="1400" dirty="0" err="1">
                <a:solidFill>
                  <a:schemeClr val="bg2"/>
                </a:solidFill>
              </a:rPr>
              <a:t>obnovljivim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izvorima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energije</a:t>
            </a:r>
            <a:r>
              <a:rPr lang="en-US" sz="1400" dirty="0">
                <a:solidFill>
                  <a:schemeClr val="bg2"/>
                </a:solidFill>
              </a:rPr>
              <a:t>, </a:t>
            </a:r>
            <a:r>
              <a:rPr lang="en-US" sz="1400" dirty="0" err="1">
                <a:solidFill>
                  <a:schemeClr val="bg2"/>
                </a:solidFill>
              </a:rPr>
              <a:t>smanjenjem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emisija</a:t>
            </a:r>
            <a:r>
              <a:rPr lang="sr-Latn-ME" sz="1400" dirty="0">
                <a:solidFill>
                  <a:schemeClr val="bg2"/>
                </a:solidFill>
              </a:rPr>
              <a:t> štetnih gasova</a:t>
            </a:r>
            <a:r>
              <a:rPr lang="en-US" sz="1400" dirty="0">
                <a:solidFill>
                  <a:schemeClr val="bg2"/>
                </a:solidFill>
              </a:rPr>
              <a:t>, </a:t>
            </a:r>
            <a:r>
              <a:rPr lang="en-US" sz="1400" dirty="0" err="1">
                <a:solidFill>
                  <a:schemeClr val="bg2"/>
                </a:solidFill>
              </a:rPr>
              <a:t>međupovezanošću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te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istraživanjem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i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inovacijama</a:t>
            </a:r>
            <a:r>
              <a:rPr lang="en-US" sz="1400" dirty="0">
                <a:solidFill>
                  <a:schemeClr val="bg2"/>
                </a:solidFill>
              </a:rPr>
              <a:t>.</a:t>
            </a:r>
            <a:endParaRPr lang="en-US" sz="1600" dirty="0">
              <a:solidFill>
                <a:schemeClr val="bg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sr-Latn-ME" sz="1400" dirty="0">
                <a:solidFill>
                  <a:schemeClr val="bg2"/>
                </a:solidFill>
              </a:rPr>
              <a:t>NECP Crne Gore </a:t>
            </a:r>
            <a:r>
              <a:rPr lang="vi-VN" sz="1400" dirty="0">
                <a:solidFill>
                  <a:schemeClr val="bg2"/>
                </a:solidFill>
              </a:rPr>
              <a:t>se realiz</a:t>
            </a:r>
            <a:r>
              <a:rPr lang="sr-Latn-ME" sz="1400" dirty="0">
                <a:solidFill>
                  <a:schemeClr val="bg2"/>
                </a:solidFill>
              </a:rPr>
              <a:t>uje</a:t>
            </a:r>
            <a:r>
              <a:rPr lang="vi-VN" sz="1400" dirty="0">
                <a:solidFill>
                  <a:schemeClr val="bg2"/>
                </a:solidFill>
              </a:rPr>
              <a:t> uz po</a:t>
            </a:r>
            <a:r>
              <a:rPr lang="sr-Latn-ME" sz="1400" dirty="0">
                <a:solidFill>
                  <a:schemeClr val="bg2"/>
                </a:solidFill>
              </a:rPr>
              <a:t>dršku</a:t>
            </a:r>
            <a:r>
              <a:rPr lang="vi-VN" sz="1400" dirty="0">
                <a:solidFill>
                  <a:schemeClr val="bg2"/>
                </a:solidFill>
              </a:rPr>
              <a:t> GIZ-a,</a:t>
            </a:r>
            <a:r>
              <a:rPr lang="en-US" sz="1400" dirty="0">
                <a:solidFill>
                  <a:schemeClr val="bg2"/>
                </a:solidFill>
              </a:rPr>
              <a:t> </a:t>
            </a:r>
            <a:r>
              <a:rPr lang="en-US" sz="1400" dirty="0" err="1">
                <a:solidFill>
                  <a:schemeClr val="bg2"/>
                </a:solidFill>
              </a:rPr>
              <a:t>Fraunhofera</a:t>
            </a:r>
            <a:r>
              <a:rPr lang="en-US" sz="1400" dirty="0">
                <a:solidFill>
                  <a:schemeClr val="bg2"/>
                </a:solidFill>
              </a:rPr>
              <a:t>-a, </a:t>
            </a:r>
            <a:r>
              <a:rPr lang="vi-VN" sz="1400" dirty="0">
                <a:solidFill>
                  <a:schemeClr val="bg2"/>
                </a:solidFill>
              </a:rPr>
              <a:t>Energetske zajednic</a:t>
            </a:r>
            <a:r>
              <a:rPr lang="en-US" sz="1400" dirty="0">
                <a:solidFill>
                  <a:schemeClr val="bg2"/>
                </a:solidFill>
              </a:rPr>
              <a:t>e </a:t>
            </a:r>
            <a:endParaRPr lang="sr-Latn-ME" sz="1400" dirty="0">
              <a:solidFill>
                <a:schemeClr val="bg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sr-Latn-ME" dirty="0">
              <a:solidFill>
                <a:schemeClr val="bg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en-US" dirty="0">
              <a:solidFill>
                <a:schemeClr val="bg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sr-Latn-ME" dirty="0">
              <a:solidFill>
                <a:schemeClr val="bg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0663359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Presentation Title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8317" y="3067386"/>
            <a:ext cx="9723480" cy="1373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587" tIns="44293" rIns="88587" bIns="44293" anchor="t"/>
          <a:lstStyle/>
          <a:p>
            <a:pPr algn="ctr" defTabSz="879356" eaLnBrk="0" hangingPunct="0">
              <a:spcBef>
                <a:spcPct val="20000"/>
              </a:spcBef>
            </a:pPr>
            <a:endParaRPr lang="en-GB" sz="1000" spc="50" dirty="0">
              <a:ln w="0"/>
              <a:solidFill>
                <a:schemeClr val="tx1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  <a:p>
            <a:pPr algn="ctr" defTabSz="879356" eaLnBrk="0" hangingPunct="0">
              <a:spcBef>
                <a:spcPct val="20000"/>
              </a:spcBef>
            </a:pPr>
            <a:r>
              <a:rPr lang="sr-Latn-ME" sz="2400" dirty="0">
                <a:solidFill>
                  <a:schemeClr val="accent1">
                    <a:lumMod val="50000"/>
                  </a:schemeClr>
                </a:solidFill>
              </a:rPr>
              <a:t>HVALA NA PAŽNJI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!</a:t>
            </a:r>
            <a:endParaRPr lang="en-GB" sz="2800" spc="50" dirty="0">
              <a:ln w="0"/>
              <a:solidFill>
                <a:schemeClr val="accent1">
                  <a:lumMod val="50000"/>
                </a:schemeClr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gray">
          <a:xfrm>
            <a:off x="3717075" y="5527675"/>
            <a:ext cx="6758838" cy="133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sz="2400" b="0" i="1" kern="0" dirty="0">
                <a:solidFill>
                  <a:schemeClr val="accent1">
                    <a:lumMod val="50000"/>
                  </a:schemeClr>
                </a:solidFill>
                <a:hlinkClick r:id="rId5"/>
              </a:rPr>
              <a:t>ivan.mrvaljevic@epcg.com</a:t>
            </a:r>
            <a:endParaRPr lang="en-US" sz="2400" b="0" i="1" kern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gray">
          <a:xfrm>
            <a:off x="0" y="4197350"/>
            <a:ext cx="6758838" cy="133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sr-Latn-ME" b="0" i="1" kern="0" dirty="0">
                <a:solidFill>
                  <a:schemeClr val="accent1">
                    <a:lumMod val="50000"/>
                  </a:schemeClr>
                </a:solidFill>
              </a:rPr>
              <a:t>*Illustrations and video courtesy of </a:t>
            </a:r>
            <a:r>
              <a:rPr lang="en-US" b="0" i="1" kern="0" dirty="0">
                <a:solidFill>
                  <a:schemeClr val="accent1">
                    <a:lumMod val="50000"/>
                  </a:schemeClr>
                </a:solidFill>
              </a:rPr>
              <a:t>the </a:t>
            </a:r>
            <a:r>
              <a:rPr lang="sr-Latn-ME" b="0" i="1" kern="0" dirty="0">
                <a:solidFill>
                  <a:schemeClr val="accent1">
                    <a:lumMod val="50000"/>
                  </a:schemeClr>
                </a:solidFill>
              </a:rPr>
              <a:t>European Com</a:t>
            </a:r>
            <a:r>
              <a:rPr lang="en-US" b="0" i="1" kern="0" dirty="0">
                <a:solidFill>
                  <a:schemeClr val="accent1">
                    <a:lumMod val="50000"/>
                  </a:schemeClr>
                </a:solidFill>
              </a:rPr>
              <a:t>m</a:t>
            </a:r>
            <a:r>
              <a:rPr lang="sr-Latn-ME" b="0" i="1" kern="0" dirty="0">
                <a:solidFill>
                  <a:schemeClr val="accent1">
                    <a:lumMod val="50000"/>
                  </a:schemeClr>
                </a:solidFill>
              </a:rPr>
              <a:t>ission </a:t>
            </a:r>
            <a:br>
              <a:rPr lang="en-US" b="0" i="1" kern="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sr-Latn-ME" b="0" i="1" kern="0" dirty="0">
                <a:solidFill>
                  <a:schemeClr val="accent1">
                    <a:lumMod val="50000"/>
                  </a:schemeClr>
                </a:solidFill>
              </a:rPr>
              <a:t>and </a:t>
            </a:r>
            <a:r>
              <a:rPr lang="en-US" b="0" i="1" kern="0" dirty="0">
                <a:solidFill>
                  <a:schemeClr val="accent1">
                    <a:lumMod val="50000"/>
                  </a:schemeClr>
                </a:solidFill>
              </a:rPr>
              <a:t>the </a:t>
            </a:r>
            <a:r>
              <a:rPr lang="sr-Latn-ME" b="0" i="1" kern="0" dirty="0">
                <a:solidFill>
                  <a:schemeClr val="accent1">
                    <a:lumMod val="50000"/>
                  </a:schemeClr>
                </a:solidFill>
              </a:rPr>
              <a:t>I</a:t>
            </a:r>
            <a:r>
              <a:rPr lang="en-US" b="0" i="1" kern="0" dirty="0" err="1">
                <a:solidFill>
                  <a:schemeClr val="accent1">
                    <a:lumMod val="50000"/>
                  </a:schemeClr>
                </a:solidFill>
              </a:rPr>
              <a:t>nternational</a:t>
            </a:r>
            <a:r>
              <a:rPr lang="en-US" b="0" i="1" kern="0" dirty="0">
                <a:solidFill>
                  <a:schemeClr val="accent1">
                    <a:lumMod val="50000"/>
                  </a:schemeClr>
                </a:solidFill>
              </a:rPr>
              <a:t> Hydropower Associ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49958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4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73852" y="4184778"/>
            <a:ext cx="9303128" cy="255454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2"/>
                </a:solidFill>
              </a:rPr>
              <a:t>izgraditi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međusobno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povezane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energetske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sisteme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b="0" dirty="0" err="1">
                <a:solidFill>
                  <a:schemeClr val="tx2"/>
                </a:solidFill>
              </a:rPr>
              <a:t>i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bolje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integrisane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mreže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za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podr</a:t>
            </a:r>
            <a:r>
              <a:rPr lang="sr-Latn-ME" sz="1600" b="0" dirty="0">
                <a:solidFill>
                  <a:schemeClr val="tx2"/>
                </a:solidFill>
              </a:rPr>
              <a:t>šku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obnovljivim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izvorima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energije</a:t>
            </a:r>
            <a:endParaRPr lang="en-US" sz="1600" b="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sr-Latn-ME" sz="1600" b="0" dirty="0">
                <a:solidFill>
                  <a:schemeClr val="tx2"/>
                </a:solidFill>
              </a:rPr>
              <a:t>podsticati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inovativne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tehnologije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i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dirty="0" err="1">
                <a:solidFill>
                  <a:schemeClr val="tx2"/>
                </a:solidFill>
              </a:rPr>
              <a:t>modernu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infrastrukturu</a:t>
            </a:r>
            <a:endParaRPr lang="en-US" sz="1600" b="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0" dirty="0" err="1">
                <a:solidFill>
                  <a:schemeClr val="tx2"/>
                </a:solidFill>
              </a:rPr>
              <a:t>povećati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dirty="0" err="1">
                <a:solidFill>
                  <a:schemeClr val="tx2"/>
                </a:solidFill>
              </a:rPr>
              <a:t>energetsku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sr-Latn-ME" sz="1600" dirty="0">
                <a:solidFill>
                  <a:schemeClr val="tx2"/>
                </a:solidFill>
              </a:rPr>
              <a:t>efikasnost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b="0" dirty="0" err="1">
                <a:solidFill>
                  <a:schemeClr val="tx2"/>
                </a:solidFill>
              </a:rPr>
              <a:t>i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dirty="0" err="1">
                <a:solidFill>
                  <a:schemeClr val="tx2"/>
                </a:solidFill>
              </a:rPr>
              <a:t>ekološki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dizajn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b="0" dirty="0" err="1">
                <a:solidFill>
                  <a:schemeClr val="tx2"/>
                </a:solidFill>
              </a:rPr>
              <a:t>proizvoda</a:t>
            </a:r>
            <a:endParaRPr lang="en-US" sz="1600" b="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2"/>
                </a:solidFill>
              </a:rPr>
              <a:t>dekarbonizovati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sektor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gasa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b="0" dirty="0" err="1">
                <a:solidFill>
                  <a:schemeClr val="tx2"/>
                </a:solidFill>
              </a:rPr>
              <a:t>i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sr-Latn-ME" sz="1600" b="0" dirty="0">
                <a:solidFill>
                  <a:schemeClr val="tx2"/>
                </a:solidFill>
              </a:rPr>
              <a:t>podsticati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dirty="0" err="1">
                <a:solidFill>
                  <a:schemeClr val="tx2"/>
                </a:solidFill>
              </a:rPr>
              <a:t>pametnu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integraciju</a:t>
            </a:r>
            <a:r>
              <a:rPr lang="en-US" sz="1600" b="0" dirty="0">
                <a:solidFill>
                  <a:schemeClr val="tx2"/>
                </a:solidFill>
              </a:rPr>
              <a:t> u </a:t>
            </a:r>
            <a:r>
              <a:rPr lang="en-US" sz="1600" b="0" dirty="0" err="1">
                <a:solidFill>
                  <a:schemeClr val="tx2"/>
                </a:solidFill>
              </a:rPr>
              <a:t>svim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sektorima</a:t>
            </a:r>
            <a:endParaRPr lang="en-US" sz="1600" b="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2"/>
                </a:solidFill>
              </a:rPr>
              <a:t>osnaž</a:t>
            </a:r>
            <a:r>
              <a:rPr lang="sr-Latn-ME" sz="1600" dirty="0">
                <a:solidFill>
                  <a:schemeClr val="tx2"/>
                </a:solidFill>
              </a:rPr>
              <a:t>iti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potrošače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b="0" dirty="0" err="1">
                <a:solidFill>
                  <a:schemeClr val="tx2"/>
                </a:solidFill>
              </a:rPr>
              <a:t>i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pomoći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državama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članicama</a:t>
            </a:r>
            <a:r>
              <a:rPr lang="en-US" sz="1600" b="0" dirty="0">
                <a:solidFill>
                  <a:schemeClr val="tx2"/>
                </a:solidFill>
              </a:rPr>
              <a:t> u </a:t>
            </a:r>
            <a:r>
              <a:rPr lang="en-US" sz="1600" b="0" dirty="0" err="1">
                <a:solidFill>
                  <a:schemeClr val="tx2"/>
                </a:solidFill>
              </a:rPr>
              <a:t>suzbijanju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energetskog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siromaštva</a:t>
            </a:r>
            <a:endParaRPr lang="en-US" sz="1600" b="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sr-Latn-ME" sz="1600" b="0" dirty="0">
                <a:solidFill>
                  <a:schemeClr val="tx2"/>
                </a:solidFill>
              </a:rPr>
              <a:t>podsticati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dirty="0" err="1">
                <a:solidFill>
                  <a:schemeClr val="tx2"/>
                </a:solidFill>
              </a:rPr>
              <a:t>energetske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norme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b="0" dirty="0" err="1">
                <a:solidFill>
                  <a:schemeClr val="tx2"/>
                </a:solidFill>
              </a:rPr>
              <a:t>i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tehnologiju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dirty="0">
                <a:solidFill>
                  <a:schemeClr val="tx2"/>
                </a:solidFill>
              </a:rPr>
              <a:t>EU-a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b="0" dirty="0" err="1">
                <a:solidFill>
                  <a:schemeClr val="tx2"/>
                </a:solidFill>
              </a:rPr>
              <a:t>na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globalno</a:t>
            </a:r>
            <a:r>
              <a:rPr lang="sr-Latn-ME" sz="1600" b="0" dirty="0">
                <a:solidFill>
                  <a:schemeClr val="tx2"/>
                </a:solidFill>
              </a:rPr>
              <a:t>m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sr-Latn-ME" sz="1600" b="0" dirty="0">
                <a:solidFill>
                  <a:schemeClr val="tx2"/>
                </a:solidFill>
              </a:rPr>
              <a:t>nivou </a:t>
            </a:r>
            <a:endParaRPr lang="en-US" sz="1600" b="0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0" dirty="0" err="1">
                <a:solidFill>
                  <a:schemeClr val="tx2"/>
                </a:solidFill>
              </a:rPr>
              <a:t>razviti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puni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potencijal</a:t>
            </a:r>
            <a:r>
              <a:rPr lang="en-US" sz="1600" b="0" dirty="0">
                <a:solidFill>
                  <a:schemeClr val="tx2"/>
                </a:solidFill>
              </a:rPr>
              <a:t> </a:t>
            </a:r>
            <a:r>
              <a:rPr lang="en-US" sz="1600" b="0" dirty="0" err="1">
                <a:solidFill>
                  <a:schemeClr val="tx2"/>
                </a:solidFill>
              </a:rPr>
              <a:t>evropske</a:t>
            </a:r>
            <a:r>
              <a:rPr lang="en-US" sz="1600" b="0" dirty="0">
                <a:solidFill>
                  <a:schemeClr val="tx2"/>
                </a:solidFill>
              </a:rPr>
              <a:t> </a:t>
            </a:r>
            <a:r>
              <a:rPr lang="en-US" sz="1600" dirty="0" err="1">
                <a:solidFill>
                  <a:schemeClr val="tx2"/>
                </a:solidFill>
              </a:rPr>
              <a:t>energije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vjetra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na</a:t>
            </a:r>
            <a:r>
              <a:rPr lang="en-US" sz="1600" dirty="0">
                <a:solidFill>
                  <a:schemeClr val="tx2"/>
                </a:solidFill>
              </a:rPr>
              <a:t> </a:t>
            </a:r>
            <a:r>
              <a:rPr lang="en-US" sz="1600" dirty="0" err="1">
                <a:solidFill>
                  <a:schemeClr val="tx2"/>
                </a:solidFill>
              </a:rPr>
              <a:t>moru</a:t>
            </a:r>
            <a:endParaRPr lang="en-US" sz="1600" b="0" dirty="0">
              <a:solidFill>
                <a:schemeClr val="tx2"/>
              </a:solidFill>
            </a:endParaRPr>
          </a:p>
          <a:p>
            <a:pPr algn="just">
              <a:buFont typeface="Arial" panose="020B0604020202020204" pitchFamily="34" charset="0"/>
              <a:buChar char="•"/>
            </a:pPr>
            <a:endParaRPr lang="en-US" sz="1600" b="0" i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363" y="118872"/>
            <a:ext cx="8250107" cy="3948983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4175649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5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A6AF8F3-C448-FD4A-BC30-FD8023BCB60C}"/>
              </a:ext>
            </a:extLst>
          </p:cNvPr>
          <p:cNvSpPr txBox="1">
            <a:spLocks/>
          </p:cNvSpPr>
          <p:nvPr/>
        </p:nvSpPr>
        <p:spPr>
          <a:xfrm>
            <a:off x="1184365" y="173027"/>
            <a:ext cx="7942218" cy="89682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extrusionH="76200" contourW="44450" prstMaterial="matte">
            <a:bevelT w="63500" h="63500" prst="artDeco"/>
            <a:extrusionClr>
              <a:schemeClr val="accent5"/>
            </a:extrusionClr>
            <a:contourClr>
              <a:schemeClr val="accent5"/>
            </a:contourClr>
          </a:sp3d>
        </p:spPr>
        <p:txBody>
          <a:bodyPr>
            <a:normAutofit fontScale="40000" lnSpcReduction="20000"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GB" sz="4000" kern="0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r>
              <a:rPr lang="en-US" sz="4000" kern="0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Investicioni</a:t>
            </a:r>
            <a:r>
              <a:rPr lang="en-US" sz="40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</a:t>
            </a:r>
            <a:r>
              <a:rPr lang="en-US" sz="4000" kern="0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i</a:t>
            </a:r>
            <a:r>
              <a:rPr lang="en-US" sz="40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</a:t>
            </a:r>
            <a:r>
              <a:rPr lang="en-US" sz="4000" kern="0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ekonomski</a:t>
            </a:r>
            <a:r>
              <a:rPr lang="en-US" sz="40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plan </a:t>
            </a:r>
            <a:r>
              <a:rPr lang="en-US" sz="4000" kern="0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Evropske</a:t>
            </a:r>
            <a:r>
              <a:rPr lang="en-US" sz="40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</a:t>
            </a:r>
            <a:r>
              <a:rPr lang="en-US" sz="4000" kern="0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komisije</a:t>
            </a:r>
            <a:r>
              <a:rPr lang="en-US" sz="40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</a:t>
            </a:r>
            <a:r>
              <a:rPr lang="en-US" sz="4000" kern="0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za</a:t>
            </a:r>
            <a:r>
              <a:rPr lang="en-US" sz="40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</a:t>
            </a:r>
            <a:r>
              <a:rPr lang="en-US" sz="4000" kern="0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Zapadni</a:t>
            </a:r>
            <a:r>
              <a:rPr lang="en-US" sz="40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Balkan, </a:t>
            </a:r>
            <a:r>
              <a:rPr lang="en-US" sz="4000" kern="0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Berlinski</a:t>
            </a:r>
            <a:r>
              <a:rPr lang="en-US" sz="40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process (WBIF)</a:t>
            </a:r>
            <a:br>
              <a:rPr lang="hr-HR" sz="3200" kern="0" dirty="0"/>
            </a:br>
            <a:endParaRPr lang="hr-HR" sz="3200" kern="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165" y="4812855"/>
            <a:ext cx="7332617" cy="181005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perspectiveAbove"/>
            <a:lightRig rig="soft" dir="t">
              <a:rot lat="0" lon="0" rev="0"/>
            </a:lightRig>
          </a:scene3d>
          <a:sp3d extrusionH="76200" contourW="44450" prstMaterial="matte">
            <a:bevelT w="63500" h="63500" prst="artDeco"/>
            <a:bevelB/>
            <a:extrusionClr>
              <a:schemeClr val="accent5"/>
            </a:extrusionClr>
            <a:contourClr>
              <a:schemeClr val="accent5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365" y="1069848"/>
            <a:ext cx="7942218" cy="3794760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extrusionH="76200" contourW="44450" prstMaterial="matte">
            <a:bevelT w="63500" h="63500" prst="artDeco"/>
            <a:extrusionClr>
              <a:schemeClr val="accent5"/>
            </a:extrusionClr>
            <a:contourClr>
              <a:schemeClr val="accent5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3538705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6</a:t>
            </a:fld>
            <a:endParaRPr lang="it-IT" sz="1000" b="0">
              <a:solidFill>
                <a:srgbClr val="0070C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2885882"/>
              </p:ext>
            </p:extLst>
          </p:nvPr>
        </p:nvGraphicFramePr>
        <p:xfrm>
          <a:off x="1198390" y="2476500"/>
          <a:ext cx="7881098" cy="35100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1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5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28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8800">
                <a:tc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ME" sz="1600" dirty="0">
                          <a:solidFill>
                            <a:schemeClr val="tx1"/>
                          </a:solidFill>
                        </a:rPr>
                        <a:t>Instalisana</a:t>
                      </a:r>
                      <a:r>
                        <a:rPr lang="sr-Latn-ME" sz="1600" baseline="0" dirty="0">
                          <a:solidFill>
                            <a:schemeClr val="tx1"/>
                          </a:solidFill>
                        </a:rPr>
                        <a:t> snaga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sr-Latn-ME" sz="160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MW</a:t>
                      </a:r>
                      <a:r>
                        <a:rPr lang="sr-Latn-ME" sz="16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r-Latn-ME" sz="1600" baseline="0" dirty="0">
                          <a:solidFill>
                            <a:schemeClr val="tx1"/>
                          </a:solidFill>
                        </a:rPr>
                        <a:t>Godišnja proizvodnja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sr-Latn-ME" sz="160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sr-Latn-ME" sz="1600" noProof="0" dirty="0">
                          <a:solidFill>
                            <a:schemeClr val="tx1"/>
                          </a:solidFill>
                        </a:rPr>
                        <a:t>GWh</a:t>
                      </a:r>
                      <a:r>
                        <a:rPr lang="sr-Latn-ME" sz="16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484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H</a:t>
                      </a:r>
                      <a:r>
                        <a:rPr lang="sr-Latn-ME" sz="1600" b="1" dirty="0">
                          <a:solidFill>
                            <a:schemeClr val="tx2"/>
                          </a:solidFill>
                        </a:rPr>
                        <a:t>E</a:t>
                      </a:r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sr-Latn-ME" sz="1600" b="1" noProof="0" dirty="0">
                          <a:solidFill>
                            <a:schemeClr val="tx2"/>
                          </a:solidFill>
                        </a:rPr>
                        <a:t>Perućic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30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920</a:t>
                      </a:r>
                    </a:p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(max 1435, min 53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75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H</a:t>
                      </a:r>
                      <a:r>
                        <a:rPr lang="sr-Latn-ME" sz="1600" b="1" dirty="0">
                          <a:solidFill>
                            <a:schemeClr val="tx2"/>
                          </a:solidFill>
                        </a:rPr>
                        <a:t>E</a:t>
                      </a:r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sr-Latn-ME" sz="1600" b="1" noProof="0" dirty="0">
                          <a:solidFill>
                            <a:schemeClr val="tx2"/>
                          </a:solidFill>
                        </a:rPr>
                        <a:t>Piv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34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750</a:t>
                      </a:r>
                    </a:p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(max 1286,</a:t>
                      </a:r>
                      <a:r>
                        <a:rPr lang="en-US" sz="1600" b="0" baseline="0" dirty="0">
                          <a:solidFill>
                            <a:schemeClr val="tx2"/>
                          </a:solidFill>
                        </a:rPr>
                        <a:t> min 360)</a:t>
                      </a:r>
                      <a:endParaRPr lang="en-US" sz="16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634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T</a:t>
                      </a:r>
                      <a:r>
                        <a:rPr lang="sr-Latn-ME" sz="1600" b="1" dirty="0">
                          <a:solidFill>
                            <a:schemeClr val="tx2"/>
                          </a:solidFill>
                        </a:rPr>
                        <a:t>E</a:t>
                      </a:r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sr-Latn-ME" sz="1600" b="1" noProof="0" dirty="0">
                          <a:solidFill>
                            <a:schemeClr val="tx2"/>
                          </a:solidFill>
                        </a:rPr>
                        <a:t>Pljevlj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2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13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760">
                <a:tc>
                  <a:txBody>
                    <a:bodyPr/>
                    <a:lstStyle/>
                    <a:p>
                      <a:pPr algn="ctr"/>
                      <a:r>
                        <a:rPr lang="sr-Latn-ME" sz="1600" b="1" noProof="0" dirty="0">
                          <a:solidFill>
                            <a:schemeClr val="tx2"/>
                          </a:solidFill>
                        </a:rPr>
                        <a:t>mH</a:t>
                      </a:r>
                      <a:r>
                        <a:rPr lang="sr-Latn-ME" sz="1600" b="1" dirty="0">
                          <a:solidFill>
                            <a:schemeClr val="tx2"/>
                          </a:solidFill>
                        </a:rPr>
                        <a:t>E</a:t>
                      </a:r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 Zeta Ener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6,5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18,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634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m</a:t>
                      </a:r>
                      <a:r>
                        <a:rPr lang="sr-Latn-ME" sz="1600" b="1" dirty="0">
                          <a:solidFill>
                            <a:schemeClr val="tx2"/>
                          </a:solidFill>
                        </a:rPr>
                        <a:t>HE</a:t>
                      </a:r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 EPC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2,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/>
                          </a:solidFill>
                        </a:rPr>
                        <a:t>5,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2386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88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2"/>
                          </a:solidFill>
                        </a:rPr>
                        <a:t>30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half" idx="4294967295"/>
          </p:nvPr>
        </p:nvSpPr>
        <p:spPr>
          <a:xfrm>
            <a:off x="1198390" y="581025"/>
            <a:ext cx="7881097" cy="1895475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extrusionH="76200" contourW="44450" prstMaterial="matte">
            <a:bevelT w="63500" h="63500" prst="artDeco"/>
            <a:extrusionClr>
              <a:schemeClr val="accent5"/>
            </a:extrusionClr>
            <a:contourClr>
              <a:schemeClr val="accent5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sr-Latn-ME" sz="1800" dirty="0"/>
              <a:t>Snaga našeg energetskog sistema bazirana je na proizvodnji elektrana </a:t>
            </a:r>
            <a:r>
              <a:rPr lang="en-GB" sz="1800" dirty="0"/>
              <a:t>H</a:t>
            </a:r>
            <a:r>
              <a:rPr lang="sr-Latn-ME" sz="1800" dirty="0"/>
              <a:t>E</a:t>
            </a:r>
            <a:r>
              <a:rPr lang="en-GB" sz="1800" dirty="0"/>
              <a:t> </a:t>
            </a:r>
            <a:r>
              <a:rPr lang="sr-Latn-ME" sz="1800" dirty="0"/>
              <a:t>Perućica, </a:t>
            </a:r>
            <a:r>
              <a:rPr lang="en-GB" sz="1800" dirty="0"/>
              <a:t>H</a:t>
            </a:r>
            <a:r>
              <a:rPr lang="sr-Latn-ME" sz="1800" dirty="0"/>
              <a:t>E</a:t>
            </a:r>
            <a:r>
              <a:rPr lang="en-GB" sz="1800" dirty="0"/>
              <a:t> </a:t>
            </a:r>
            <a:r>
              <a:rPr lang="sr-Latn-ME" sz="1800" dirty="0"/>
              <a:t>Piva i TE Pljevlja</a:t>
            </a:r>
            <a:r>
              <a:rPr lang="en-GB" sz="1800" dirty="0"/>
              <a:t> </a:t>
            </a:r>
          </a:p>
          <a:p>
            <a:pPr algn="just"/>
            <a:endParaRPr lang="en-GB" sz="18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sr-Latn-ME" sz="1800" b="1" dirty="0"/>
              <a:t>Naš cilj</a:t>
            </a:r>
            <a:r>
              <a:rPr lang="en-GB" sz="1800" b="1" dirty="0"/>
              <a:t> </a:t>
            </a:r>
            <a:r>
              <a:rPr lang="en-GB" sz="1800" dirty="0"/>
              <a:t>– </a:t>
            </a:r>
            <a:r>
              <a:rPr lang="sr-Latn-ME" sz="1800" dirty="0"/>
              <a:t>diversifikacija proizvodnje električne energije iz obnovljivih izvor</a:t>
            </a:r>
            <a:r>
              <a:rPr lang="en-US" sz="1800" dirty="0"/>
              <a:t>a (</a:t>
            </a:r>
            <a:r>
              <a:rPr lang="sr-Latn-ME" sz="1800" dirty="0"/>
              <a:t>primarno vjeta</a:t>
            </a:r>
            <a:r>
              <a:rPr lang="en-US" sz="1800" dirty="0"/>
              <a:t>r</a:t>
            </a:r>
            <a:r>
              <a:rPr lang="sr-Latn-ME" sz="1800" dirty="0"/>
              <a:t> i solar</a:t>
            </a:r>
            <a:r>
              <a:rPr lang="en-US" sz="1800" dirty="0"/>
              <a:t>)</a:t>
            </a:r>
            <a:endParaRPr lang="en-GB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865217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7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20E813CB-6509-4F43-B513-67DA8104FFAF}"/>
              </a:ext>
            </a:extLst>
          </p:cNvPr>
          <p:cNvSpPr txBox="1">
            <a:spLocks/>
          </p:cNvSpPr>
          <p:nvPr/>
        </p:nvSpPr>
        <p:spPr>
          <a:xfrm>
            <a:off x="335244" y="259793"/>
            <a:ext cx="3509115" cy="6254374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Left"/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txBody>
          <a:bodyPr anchor="ctr" anchorCtr="0">
            <a:noAutofit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hr-HR" altLang="de-DE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Udio OIE u proizvodnji </a:t>
            </a:r>
            <a:br>
              <a:rPr lang="hr-HR" altLang="de-DE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</a:br>
            <a:r>
              <a:rPr lang="hr-HR" altLang="de-DE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električne energije</a:t>
            </a:r>
            <a:br>
              <a:rPr lang="hr-HR" altLang="de-DE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</a:br>
            <a:r>
              <a:rPr lang="hr-HR" altLang="de-DE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EU 2019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359" y="121920"/>
            <a:ext cx="6031162" cy="6514011"/>
          </a:xfrm>
          <a:prstGeom prst="rect">
            <a:avLst/>
          </a:prstGeom>
          <a:ln>
            <a:solidFill>
              <a:schemeClr val="accent5">
                <a:lumMod val="75000"/>
              </a:schemeClr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0082559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8</a:t>
            </a:fld>
            <a:endParaRPr lang="it-IT" sz="1000" b="0">
              <a:solidFill>
                <a:srgbClr val="0070C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5072" y="237742"/>
            <a:ext cx="5868000" cy="625449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20E813CB-6509-4F43-B513-67DA8104FFAF}"/>
              </a:ext>
            </a:extLst>
          </p:cNvPr>
          <p:cNvSpPr txBox="1">
            <a:spLocks/>
          </p:cNvSpPr>
          <p:nvPr/>
        </p:nvSpPr>
        <p:spPr>
          <a:xfrm>
            <a:off x="215724" y="351119"/>
            <a:ext cx="3789348" cy="602774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Left"/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txBody>
          <a:bodyPr anchor="ctr" anchorCtr="0">
            <a:noAutofit/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hr-HR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Udio OIE u</a:t>
            </a:r>
            <a:br>
              <a:rPr lang="hr-HR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</a:br>
            <a:r>
              <a:rPr lang="hr-HR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u bruto finalnoj</a:t>
            </a:r>
            <a:br>
              <a:rPr lang="hr-HR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</a:br>
            <a:r>
              <a:rPr lang="hr-HR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potrošnji</a:t>
            </a:r>
            <a:br>
              <a:rPr lang="hr-HR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</a:br>
            <a:r>
              <a:rPr lang="hr-HR" sz="2400" kern="0" dirty="0">
                <a:solidFill>
                  <a:schemeClr val="bg1">
                    <a:lumMod val="20000"/>
                    <a:lumOff val="80000"/>
                  </a:schemeClr>
                </a:solidFill>
              </a:rPr>
              <a:t>EU 201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148363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t="-4000" b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3"/>
          <p:cNvSpPr txBox="1">
            <a:spLocks noGrp="1"/>
          </p:cNvSpPr>
          <p:nvPr/>
        </p:nvSpPr>
        <p:spPr bwMode="auto">
          <a:xfrm>
            <a:off x="229151" y="6829858"/>
            <a:ext cx="451660" cy="25760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95920" tIns="47960" rIns="95920" bIns="47960">
            <a:spAutoFit/>
          </a:bodyPr>
          <a:lstStyle/>
          <a:p>
            <a:pPr algn="ctr" defTabSz="957632" eaLnBrk="0" hangingPunct="0">
              <a:spcBef>
                <a:spcPct val="20000"/>
              </a:spcBef>
            </a:pPr>
            <a:fld id="{34FBC8BF-BE59-4CD6-892C-BB7A03DD1F5F}" type="slidenum">
              <a:rPr lang="it-IT" sz="1000" b="0">
                <a:solidFill>
                  <a:srgbClr val="0070C0"/>
                </a:solidFill>
              </a:rPr>
              <a:pPr algn="ctr" defTabSz="957632" eaLnBrk="0" hangingPunct="0">
                <a:spcBef>
                  <a:spcPct val="20000"/>
                </a:spcBef>
              </a:pPr>
              <a:t>9</a:t>
            </a:fld>
            <a:endParaRPr lang="it-IT" sz="1000" b="0">
              <a:solidFill>
                <a:srgbClr val="0070C0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1078689" y="0"/>
            <a:ext cx="8177349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endParaRPr lang="it-IT" sz="2000" kern="0" dirty="0"/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gray">
          <a:xfrm>
            <a:off x="1344448" y="334962"/>
            <a:ext cx="7645827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9093" tIns="49093" rIns="49093" bIns="49093" numCol="1" anchor="ctr" anchorCtr="0" compatLnSpc="1">
            <a:prstTxWarp prst="textNoShape">
              <a:avLst/>
            </a:prstTxWarp>
          </a:bodyPr>
          <a:lstStyle>
            <a:lvl1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2pPr>
            <a:lvl3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3pPr>
            <a:lvl4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4pPr>
            <a:lvl5pPr algn="ctr" defTabSz="879475" rtl="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Verdana" pitchFamily="34" charset="0"/>
              </a:defRPr>
            </a:lvl5pPr>
            <a:lvl6pPr marL="479649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6pPr>
            <a:lvl7pPr marL="959297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7pPr>
            <a:lvl8pPr marL="1438946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8pPr>
            <a:lvl9pPr marL="1918594" algn="l" defTabSz="881022" rtl="0" fontAlgn="base">
              <a:spcBef>
                <a:spcPct val="0"/>
              </a:spcBef>
              <a:spcAft>
                <a:spcPct val="0"/>
              </a:spcAft>
              <a:defRPr sz="25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sr-Latn-ME" sz="2400" dirty="0">
                <a:solidFill>
                  <a:schemeClr val="accent1">
                    <a:lumMod val="50000"/>
                  </a:schemeClr>
                </a:solidFill>
              </a:rPr>
              <a:t>Crna Gora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 – </a:t>
            </a:r>
            <a:r>
              <a:rPr lang="sr-Latn-ME" sz="2400" dirty="0">
                <a:solidFill>
                  <a:schemeClr val="accent1">
                    <a:lumMod val="50000"/>
                  </a:schemeClr>
                </a:solidFill>
              </a:rPr>
              <a:t>proizvodnja/potrošnja energije 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(2017/18/19/20)</a:t>
            </a:r>
            <a:endParaRPr lang="sr-Latn-ME" sz="240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2234529"/>
              </p:ext>
            </p:extLst>
          </p:nvPr>
        </p:nvGraphicFramePr>
        <p:xfrm>
          <a:off x="1344448" y="1434442"/>
          <a:ext cx="7644104" cy="4419369"/>
        </p:xfrm>
        <a:graphic>
          <a:graphicData uri="http://schemas.openxmlformats.org/drawingml/2006/table">
            <a:tbl>
              <a:tblPr firstRow="1" bandRow="1"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7746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26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10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44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612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644722">
                <a:tc rowSpan="2">
                  <a:txBody>
                    <a:bodyPr/>
                    <a:lstStyle/>
                    <a:p>
                      <a:pPr marL="0" marR="0" indent="0" algn="ctr" defTabSz="9592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ME" dirty="0">
                          <a:solidFill>
                            <a:schemeClr val="bg2"/>
                          </a:solidFill>
                        </a:rPr>
                        <a:t>Balansni elementi</a:t>
                      </a:r>
                      <a:endParaRPr lang="en-US" dirty="0">
                        <a:solidFill>
                          <a:schemeClr val="bg2"/>
                        </a:solidFill>
                      </a:endParaRPr>
                    </a:p>
                    <a:p>
                      <a:pPr marL="0" algn="ctr" defTabSz="959297" rtl="0" eaLnBrk="1" latinLnBrk="0" hangingPunct="1"/>
                      <a:endParaRPr lang="en-US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20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592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20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592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592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bg2"/>
                          </a:solidFill>
                        </a:rPr>
                        <a:t>20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3018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592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ME" sz="1600" i="0" noProof="0" dirty="0"/>
                        <a:t>GW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592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ME" sz="1600" noProof="0" dirty="0"/>
                        <a:t>GW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592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ME" sz="1600" noProof="0" dirty="0"/>
                        <a:t>GW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592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Latn-ME" sz="1600" noProof="0" dirty="0"/>
                        <a:t>GW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6716">
                <a:tc>
                  <a:txBody>
                    <a:bodyPr/>
                    <a:lstStyle/>
                    <a:p>
                      <a:pPr marL="0" marR="0" indent="0" algn="ctr" defTabSz="95929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baseline="0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EPCG </a:t>
                      </a:r>
                      <a:r>
                        <a:rPr lang="sr-Latn-ME" b="1" baseline="0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proizvodnja</a:t>
                      </a:r>
                      <a:endParaRPr lang="en-US" b="1" dirty="0">
                        <a:solidFill>
                          <a:schemeClr val="bg1">
                            <a:lumMod val="20000"/>
                            <a:lumOff val="80000"/>
                          </a:schemeClr>
                        </a:solidFill>
                      </a:endParaRPr>
                    </a:p>
                    <a:p>
                      <a:pPr algn="ctr"/>
                      <a:endParaRPr lang="en-US" b="1" dirty="0">
                        <a:solidFill>
                          <a:schemeClr val="bg1">
                            <a:lumMod val="20000"/>
                            <a:lumOff val="8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219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348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301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kern="1200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19</a:t>
                      </a:r>
                      <a:endParaRPr lang="en-US" dirty="0">
                        <a:solidFill>
                          <a:schemeClr val="bg1">
                            <a:lumMod val="20000"/>
                            <a:lumOff val="8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3064">
                <a:tc>
                  <a:txBody>
                    <a:bodyPr/>
                    <a:lstStyle/>
                    <a:p>
                      <a:pPr algn="ctr"/>
                      <a:r>
                        <a:rPr lang="sr-Latn-ME" b="1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Crna Gora proizvodnja</a:t>
                      </a:r>
                      <a:endParaRPr lang="en-US" b="1" dirty="0">
                        <a:solidFill>
                          <a:schemeClr val="bg1">
                            <a:lumMod val="20000"/>
                            <a:lumOff val="8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232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36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32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kern="1200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24</a:t>
                      </a:r>
                      <a:endParaRPr lang="en-US" dirty="0">
                        <a:solidFill>
                          <a:schemeClr val="bg1">
                            <a:lumMod val="20000"/>
                            <a:lumOff val="8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4353">
                <a:tc>
                  <a:txBody>
                    <a:bodyPr/>
                    <a:lstStyle/>
                    <a:p>
                      <a:pPr algn="ctr"/>
                      <a:r>
                        <a:rPr lang="sr-Latn-ME" b="1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Crna Gora potrošnja</a:t>
                      </a:r>
                      <a:endParaRPr lang="en-US" b="1" dirty="0">
                        <a:solidFill>
                          <a:schemeClr val="bg1">
                            <a:lumMod val="20000"/>
                            <a:lumOff val="8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32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348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348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>
                              <a:lumMod val="20000"/>
                              <a:lumOff val="80000"/>
                            </a:schemeClr>
                          </a:solidFill>
                        </a:rPr>
                        <a:t>33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245270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Mila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3"/>
  <p:tag name="MULTI-LINE" val="true"/>
  <p:tag name="TEXT" val="&amp;Notes and Sources:"/>
  <p:tag name="FILL" val="false"/>
  <p:tag name="OPTIONAL" val="true"/>
  <p:tag name="NAME" val="Notes"/>
  <p:tag name="HEIGHT" val="5"/>
  <p:tag name="INDENTED" val="false"/>
  <p:tag name="CAPTION HEIGHT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Presentation &amp;Title:"/>
  <p:tag name="FILL" val="true"/>
  <p:tag name="OPTIONAL" val="false"/>
  <p:tag name="NAME" val="Presentation Title"/>
  <p:tag name="HEIGHT" val="1"/>
  <p:tag name="INDENTED" val="false"/>
  <p:tag name="CAPTION HEIGHT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Presentation &amp;Title:"/>
  <p:tag name="FILL" val="true"/>
  <p:tag name="OPTIONAL" val="false"/>
  <p:tag name="NAME" val="Presentation Title"/>
  <p:tag name="HEIGHT" val="1"/>
  <p:tag name="INDENTED" val="false"/>
  <p:tag name="CAPTION HEIGHT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2"/>
  <p:tag name="MULTI-LINE" val="true"/>
  <p:tag name="TEXT" val="Presentation &amp;Subtitle:"/>
  <p:tag name="FILL" val="true"/>
  <p:tag name="OPTIONAL" val="true"/>
  <p:tag name="NAME" val="Sub Title"/>
  <p:tag name="HEIGHT" val="5"/>
  <p:tag name="INDENTED" val="false"/>
  <p:tag name="CAPTION HEIGHT" val="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3"/>
  <p:tag name="MULTI-LINE" val="true"/>
  <p:tag name="TEXT" val="&amp;Notes and Sources:"/>
  <p:tag name="FILL" val="false"/>
  <p:tag name="OPTIONAL" val="true"/>
  <p:tag name="NAME" val="Notes"/>
  <p:tag name="HEIGHT" val="5"/>
  <p:tag name="INDENTED" val="false"/>
  <p:tag name="CAPTION HEIGHT" val="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3"/>
  <p:tag name="MULTI-LINE" val="true"/>
  <p:tag name="TEXT" val="&amp;Notes and Sources:"/>
  <p:tag name="FILL" val="false"/>
  <p:tag name="OPTIONAL" val="true"/>
  <p:tag name="NAME" val="Notes"/>
  <p:tag name="HEIGHT" val="5"/>
  <p:tag name="INDENTED" val="false"/>
  <p:tag name="CAPTION HEIGHT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Presentation &amp;Title:"/>
  <p:tag name="FILL" val="true"/>
  <p:tag name="OPTIONAL" val="false"/>
  <p:tag name="NAME" val="Presentation Title"/>
  <p:tag name="HEIGHT" val="1"/>
  <p:tag name="INDENTED" val="false"/>
  <p:tag name="CAPTION HEIGHT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itle page">
  <a:themeElements>
    <a:clrScheme name="White title page 8">
      <a:dk1>
        <a:srgbClr val="000000"/>
      </a:dk1>
      <a:lt1>
        <a:srgbClr val="B2B2B2"/>
      </a:lt1>
      <a:dk2>
        <a:srgbClr val="FFFFFF"/>
      </a:dk2>
      <a:lt2>
        <a:srgbClr val="000000"/>
      </a:lt2>
      <a:accent1>
        <a:srgbClr val="99CCFF"/>
      </a:accent1>
      <a:accent2>
        <a:srgbClr val="FFE433"/>
      </a:accent2>
      <a:accent3>
        <a:srgbClr val="D5D5D5"/>
      </a:accent3>
      <a:accent4>
        <a:srgbClr val="000000"/>
      </a:accent4>
      <a:accent5>
        <a:srgbClr val="CAE2FF"/>
      </a:accent5>
      <a:accent6>
        <a:srgbClr val="E7CF2D"/>
      </a:accent6>
      <a:hlink>
        <a:srgbClr val="000000"/>
      </a:hlink>
      <a:folHlink>
        <a:srgbClr val="CC0000"/>
      </a:folHlink>
    </a:clrScheme>
    <a:fontScheme name="White title page">
      <a:majorFont>
        <a:latin typeface="Verdana"/>
        <a:ea typeface=""/>
        <a:cs typeface=""/>
      </a:majorFont>
      <a:minorFont>
        <a:latin typeface="Verdana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>
          <a:solidFill>
            <a:schemeClr val="tx1"/>
          </a:solidFill>
          <a:miter lim="800000"/>
          <a:headEnd/>
          <a:tailEnd/>
        </a:ln>
      </a:spPr>
      <a:bodyPr lIns="46800" tIns="46800" rIns="46800" bIns="46800" anchor="ctr"/>
      <a:lstStyle>
        <a:defPPr algn="ctr">
          <a:defRPr sz="1400" b="1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rgbClr val="01AEF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6800" tIns="45720" rIns="4680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it-IT" sz="1800" b="1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Verdana" pitchFamily="34" charset="0"/>
            <a:ea typeface="ヒラギノ角ゴ Pro W3" pitchFamily="84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wrap="square" lIns="46800" tIns="46800" rIns="46800" bIns="46800">
        <a:spAutoFit/>
      </a:bodyPr>
      <a:lstStyle>
        <a:defPPr marL="0" marR="0" indent="0" algn="l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 smtClean="0">
            <a:ln>
              <a:noFill/>
            </a:ln>
            <a:solidFill>
              <a:sysClr val="windowText" lastClr="000000"/>
            </a:solidFill>
            <a:effectLst/>
            <a:uLnTx/>
            <a:uFillTx/>
          </a:defRPr>
        </a:defPPr>
      </a:lstStyle>
    </a:txDef>
  </a:objectDefaults>
  <a:extraClrSchemeLst>
    <a:extraClrScheme>
      <a:clrScheme name="White title page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title pag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hite title page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title page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title page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title page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title page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hite title page 8">
        <a:dk1>
          <a:srgbClr val="000000"/>
        </a:dk1>
        <a:lt1>
          <a:srgbClr val="B2B2B2"/>
        </a:lt1>
        <a:dk2>
          <a:srgbClr val="FFFFFF"/>
        </a:dk2>
        <a:lt2>
          <a:srgbClr val="000000"/>
        </a:lt2>
        <a:accent1>
          <a:srgbClr val="99CCFF"/>
        </a:accent1>
        <a:accent2>
          <a:srgbClr val="FFE433"/>
        </a:accent2>
        <a:accent3>
          <a:srgbClr val="D5D5D5"/>
        </a:accent3>
        <a:accent4>
          <a:srgbClr val="000000"/>
        </a:accent4>
        <a:accent5>
          <a:srgbClr val="CAE2FF"/>
        </a:accent5>
        <a:accent6>
          <a:srgbClr val="E7CF2D"/>
        </a:accent6>
        <a:hlink>
          <a:srgbClr val="00000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ortum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rtum_landscape_16_9.potx" id="{62BDF8B9-4B86-4B7D-9968-72D1FB159E74}" vid="{5F995833-84CD-42BC-A419-CA835D042907}"/>
    </a:ext>
  </a:extLst>
</a:theme>
</file>

<file path=ppt/theme/theme3.xml><?xml version="1.0" encoding="utf-8"?>
<a:theme xmlns:a="http://schemas.openxmlformats.org/drawingml/2006/main" name="1_Fortum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rtum_landscape_16_9.potx" id="{62BDF8B9-4B86-4B7D-9968-72D1FB159E74}" vid="{5F995833-84CD-42BC-A419-CA835D042907}"/>
    </a:ext>
  </a:extLst>
</a:theme>
</file>

<file path=ppt/theme/theme4.xml><?xml version="1.0" encoding="utf-8"?>
<a:theme xmlns:a="http://schemas.openxmlformats.org/drawingml/2006/main" name="2_Fortum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rtum_landscape_16_9.potx" id="{62BDF8B9-4B86-4B7D-9968-72D1FB159E74}" vid="{5F995833-84CD-42BC-A419-CA835D042907}"/>
    </a:ext>
  </a:extLst>
</a:theme>
</file>

<file path=ppt/theme/theme5.xml><?xml version="1.0" encoding="utf-8"?>
<a:theme xmlns:a="http://schemas.openxmlformats.org/drawingml/2006/main" name="3_Fortum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rtum_landscape_16_9.potx" id="{62BDF8B9-4B86-4B7D-9968-72D1FB159E74}" vid="{5F995833-84CD-42BC-A419-CA835D042907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B2B2B2"/>
    </a:lt1>
    <a:dk2>
      <a:srgbClr val="FFFFFF"/>
    </a:dk2>
    <a:lt2>
      <a:srgbClr val="000000"/>
    </a:lt2>
    <a:accent1>
      <a:srgbClr val="99CCFF"/>
    </a:accent1>
    <a:accent2>
      <a:srgbClr val="FFCC33"/>
    </a:accent2>
    <a:accent3>
      <a:srgbClr val="D5D5D5"/>
    </a:accent3>
    <a:accent4>
      <a:srgbClr val="000000"/>
    </a:accent4>
    <a:accent5>
      <a:srgbClr val="CAE2FF"/>
    </a:accent5>
    <a:accent6>
      <a:srgbClr val="E7B92D"/>
    </a:accent6>
    <a:hlink>
      <a:srgbClr val="000000"/>
    </a:hlink>
    <a:folHlink>
      <a:srgbClr val="CC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8316</TotalTime>
  <Words>1792</Words>
  <Application>Microsoft Office PowerPoint</Application>
  <PresentationFormat>Custom</PresentationFormat>
  <Paragraphs>367</Paragraphs>
  <Slides>33</Slides>
  <Notes>33</Notes>
  <HiddenSlides>0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51" baseType="lpstr">
      <vt:lpstr>PMingLiU</vt:lpstr>
      <vt:lpstr>Arial</vt:lpstr>
      <vt:lpstr>Calibri</vt:lpstr>
      <vt:lpstr>Century Gothic</vt:lpstr>
      <vt:lpstr>Marlett</vt:lpstr>
      <vt:lpstr>Open Sans</vt:lpstr>
      <vt:lpstr>Symbol</vt:lpstr>
      <vt:lpstr>Times New Roman</vt:lpstr>
      <vt:lpstr>Trebuchet MS</vt:lpstr>
      <vt:lpstr>Verdana</vt:lpstr>
      <vt:lpstr>Wingdings</vt:lpstr>
      <vt:lpstr>ヒラギノ角ゴ Pro W3</vt:lpstr>
      <vt:lpstr>White title page</vt:lpstr>
      <vt:lpstr>Fortum</vt:lpstr>
      <vt:lpstr>1_Fortum</vt:lpstr>
      <vt:lpstr>2_Fortum</vt:lpstr>
      <vt:lpstr>3_Fortum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ain &amp; Company Italy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nee guida organizzative A2A</dc:title>
  <dc:creator>EPCG</dc:creator>
  <cp:lastModifiedBy>Stevan Canovic</cp:lastModifiedBy>
  <cp:revision>4897</cp:revision>
  <cp:lastPrinted>2021-07-26T11:25:09Z</cp:lastPrinted>
  <dcterms:created xsi:type="dcterms:W3CDTF">2007-12-04T14:19:32Z</dcterms:created>
  <dcterms:modified xsi:type="dcterms:W3CDTF">2021-09-29T06:1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umberOfSlides">
    <vt:i4>20</vt:i4>
  </property>
  <property fmtid="{D5CDD505-2E9C-101B-9397-08002B2CF9AE}" pid="3" name="RevisionCount">
    <vt:i4>536</vt:i4>
  </property>
</Properties>
</file>